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6" r:id="rId4"/>
    <p:sldMasterId id="2147483738" r:id="rId5"/>
    <p:sldMasterId id="2147483752" r:id="rId6"/>
  </p:sldMasterIdLst>
  <p:notesMasterIdLst>
    <p:notesMasterId r:id="rId22"/>
  </p:notesMasterIdLst>
  <p:handoutMasterIdLst>
    <p:handoutMasterId r:id="rId23"/>
  </p:handoutMasterIdLst>
  <p:sldIdLst>
    <p:sldId id="634" r:id="rId7"/>
    <p:sldId id="647" r:id="rId8"/>
    <p:sldId id="648" r:id="rId9"/>
    <p:sldId id="659" r:id="rId10"/>
    <p:sldId id="650" r:id="rId11"/>
    <p:sldId id="651" r:id="rId12"/>
    <p:sldId id="652" r:id="rId13"/>
    <p:sldId id="653" r:id="rId14"/>
    <p:sldId id="654" r:id="rId15"/>
    <p:sldId id="655" r:id="rId16"/>
    <p:sldId id="656" r:id="rId17"/>
    <p:sldId id="660" r:id="rId18"/>
    <p:sldId id="661" r:id="rId19"/>
    <p:sldId id="662" r:id="rId20"/>
    <p:sldId id="658" r:id="rId21"/>
  </p:sldIdLst>
  <p:sldSz cx="9144000" cy="6858000" type="screen4x3"/>
  <p:notesSz cx="6742113" cy="987266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 userDrawn="1">
          <p15:clr>
            <a:srgbClr val="A4A3A4"/>
          </p15:clr>
        </p15:guide>
        <p15:guide id="2" pos="212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owe, Cassandra - On Purpose Associate" initials="HC-OPA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499"/>
    <a:srgbClr val="80CDC4"/>
    <a:srgbClr val="26364F"/>
    <a:srgbClr val="E95324"/>
    <a:srgbClr val="CBE2ED"/>
    <a:srgbClr val="005E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941" autoAdjust="0"/>
    <p:restoredTop sz="47941" autoAdjust="0"/>
  </p:normalViewPr>
  <p:slideViewPr>
    <p:cSldViewPr snapToGrid="0" snapToObjects="1">
      <p:cViewPr varScale="1">
        <p:scale>
          <a:sx n="78" d="100"/>
          <a:sy n="78" d="100"/>
        </p:scale>
        <p:origin x="1074" y="6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48" d="100"/>
          <a:sy n="48" d="100"/>
        </p:scale>
        <p:origin x="2772" y="36"/>
      </p:cViewPr>
      <p:guideLst>
        <p:guide orient="horz" pos="3110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12" Type="http://schemas.openxmlformats.org/officeDocument/2006/relationships/image" Target="../media/image20.svg"/><Relationship Id="rId2" Type="http://schemas.openxmlformats.org/officeDocument/2006/relationships/image" Target="../media/image10.svg"/><Relationship Id="rId1" Type="http://schemas.openxmlformats.org/officeDocument/2006/relationships/image" Target="../media/image9.png"/><Relationship Id="rId6" Type="http://schemas.openxmlformats.org/officeDocument/2006/relationships/image" Target="../media/image14.sv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0" Type="http://schemas.openxmlformats.org/officeDocument/2006/relationships/image" Target="../media/image18.svg"/><Relationship Id="rId4" Type="http://schemas.openxmlformats.org/officeDocument/2006/relationships/image" Target="../media/image12.svg"/><Relationship Id="rId9" Type="http://schemas.openxmlformats.org/officeDocument/2006/relationships/image" Target="../media/image17.pn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12" Type="http://schemas.openxmlformats.org/officeDocument/2006/relationships/image" Target="../media/image20.svg"/><Relationship Id="rId2" Type="http://schemas.openxmlformats.org/officeDocument/2006/relationships/image" Target="../media/image10.svg"/><Relationship Id="rId1" Type="http://schemas.openxmlformats.org/officeDocument/2006/relationships/image" Target="../media/image9.png"/><Relationship Id="rId6" Type="http://schemas.openxmlformats.org/officeDocument/2006/relationships/image" Target="../media/image14.sv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0" Type="http://schemas.openxmlformats.org/officeDocument/2006/relationships/image" Target="../media/image18.svg"/><Relationship Id="rId4" Type="http://schemas.openxmlformats.org/officeDocument/2006/relationships/image" Target="../media/image12.svg"/><Relationship Id="rId9" Type="http://schemas.openxmlformats.org/officeDocument/2006/relationships/image" Target="../media/image17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neutralbg_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479E303-967B-4608-9514-37FF6F33DCED}" type="doc">
      <dgm:prSet loTypeId="urn:microsoft.com/office/officeart/2018/2/layout/IconCircleList" loCatId="icon" qsTypeId="urn:microsoft.com/office/officeart/2005/8/quickstyle/simple4" qsCatId="simple" csTypeId="urn:microsoft.com/office/officeart/2018/5/colors/Iconchunking_neutralbg_accent1_2" csCatId="accent1" phldr="1"/>
      <dgm:spPr/>
      <dgm:t>
        <a:bodyPr/>
        <a:lstStyle/>
        <a:p>
          <a:endParaRPr lang="en-US"/>
        </a:p>
      </dgm:t>
    </dgm:pt>
    <dgm:pt modelId="{BA240B57-33BC-4201-A4CD-B6D3FEA66D0F}">
      <dgm:prSet custT="1"/>
      <dgm:spPr/>
      <dgm:t>
        <a:bodyPr anchor="ctr"/>
        <a:lstStyle/>
        <a:p>
          <a:pPr>
            <a:lnSpc>
              <a:spcPct val="100000"/>
            </a:lnSpc>
          </a:pPr>
          <a:r>
            <a:rPr lang="en-GB" sz="1400" b="1" dirty="0"/>
            <a:t>S</a:t>
          </a:r>
          <a:r>
            <a:rPr lang="en-GB" sz="1400" dirty="0"/>
            <a:t> – </a:t>
          </a:r>
          <a:r>
            <a:rPr lang="en-GB" sz="1400" b="1" dirty="0"/>
            <a:t>Scoping </a:t>
          </a:r>
          <a:r>
            <a:rPr lang="en-GB" sz="1400" dirty="0"/>
            <a:t>the presenting situation – clarity re presenting problems, AND resources (</a:t>
          </a:r>
          <a:r>
            <a:rPr lang="en-GB" sz="1400" dirty="0" err="1"/>
            <a:t>inc</a:t>
          </a:r>
          <a:r>
            <a:rPr lang="en-GB" sz="1400" dirty="0"/>
            <a:t> where is / who is ‘home’?)</a:t>
          </a:r>
          <a:endParaRPr lang="en-US" sz="1400" dirty="0"/>
        </a:p>
      </dgm:t>
    </dgm:pt>
    <dgm:pt modelId="{4EEFD90D-2748-41CE-8E37-652C25654F46}" type="parTrans" cxnId="{6867F402-92D5-4444-A43C-ABDAB6BDE8ED}">
      <dgm:prSet/>
      <dgm:spPr/>
      <dgm:t>
        <a:bodyPr/>
        <a:lstStyle/>
        <a:p>
          <a:endParaRPr lang="en-US"/>
        </a:p>
      </dgm:t>
    </dgm:pt>
    <dgm:pt modelId="{418CADA1-40DE-4684-A455-43A4DFCB2A2C}" type="sibTrans" cxnId="{6867F402-92D5-4444-A43C-ABDAB6BDE8ED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52D30513-6F19-494A-B447-922A3A8BCFB9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GB" sz="1400" b="1" dirty="0"/>
            <a:t>T</a:t>
          </a:r>
          <a:r>
            <a:rPr lang="en-GB" sz="1400" dirty="0"/>
            <a:t> – </a:t>
          </a:r>
          <a:r>
            <a:rPr lang="en-GB" sz="1400" b="1" dirty="0"/>
            <a:t>Targets </a:t>
          </a:r>
          <a:r>
            <a:rPr lang="en-GB" sz="1400" dirty="0"/>
            <a:t>identified that key stakeholders (staff, YP, ‘home’) agree on, that are ‘destination’ rather than ‘intervention’ targets, and that are measurable</a:t>
          </a:r>
          <a:endParaRPr lang="en-US" sz="1400" dirty="0"/>
        </a:p>
      </dgm:t>
    </dgm:pt>
    <dgm:pt modelId="{393A6F49-90AA-41CA-8A5F-C07CAA080436}" type="parTrans" cxnId="{76B15A09-F9AF-4464-9447-1FD8845E8778}">
      <dgm:prSet/>
      <dgm:spPr/>
      <dgm:t>
        <a:bodyPr/>
        <a:lstStyle/>
        <a:p>
          <a:endParaRPr lang="en-US"/>
        </a:p>
      </dgm:t>
    </dgm:pt>
    <dgm:pt modelId="{471C398E-AFF7-499A-8B6C-61F5AE7898EF}" type="sibTrans" cxnId="{76B15A09-F9AF-4464-9447-1FD8845E8778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A9E7F31E-29B5-4CBE-AC4F-5DEC7D0256F2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GB" sz="1400" b="1" dirty="0"/>
            <a:t>A</a:t>
          </a:r>
          <a:r>
            <a:rPr lang="en-GB" sz="1400" dirty="0"/>
            <a:t> – </a:t>
          </a:r>
          <a:r>
            <a:rPr lang="en-GB" sz="1400" b="1" dirty="0"/>
            <a:t>Activators: </a:t>
          </a:r>
          <a:r>
            <a:rPr lang="en-GB" sz="1400" dirty="0"/>
            <a:t>Interventions driven by a </a:t>
          </a:r>
          <a:r>
            <a:rPr lang="en-GB" sz="1400" b="1" dirty="0"/>
            <a:t>multi-factorial/multi-systemic</a:t>
          </a:r>
          <a:r>
            <a:rPr lang="en-GB" sz="1400" dirty="0"/>
            <a:t> </a:t>
          </a:r>
          <a:r>
            <a:rPr lang="en-GB" sz="1400" b="1" dirty="0"/>
            <a:t>formulation </a:t>
          </a:r>
          <a:r>
            <a:rPr lang="en-GB" sz="1400" dirty="0"/>
            <a:t>(not predicated on diagnosis/offence) that identifies the activators for this particular problem for this particular young person/family</a:t>
          </a:r>
          <a:endParaRPr lang="en-US" sz="1400" dirty="0"/>
        </a:p>
      </dgm:t>
    </dgm:pt>
    <dgm:pt modelId="{30F2349B-01DB-4DCE-B351-C84AB1B89A5D}" type="parTrans" cxnId="{03C76B9A-30E2-4725-A238-3406BE5B6BF6}">
      <dgm:prSet/>
      <dgm:spPr/>
      <dgm:t>
        <a:bodyPr/>
        <a:lstStyle/>
        <a:p>
          <a:endParaRPr lang="en-US"/>
        </a:p>
      </dgm:t>
    </dgm:pt>
    <dgm:pt modelId="{BF266F69-5203-4895-9281-D81C826DAB28}" type="sibTrans" cxnId="{03C76B9A-30E2-4725-A238-3406BE5B6BF6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BC8DB16A-956C-4457-91D8-ED7395D7709F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GB" sz="1400" b="1" dirty="0"/>
            <a:t>I</a:t>
          </a:r>
          <a:r>
            <a:rPr lang="en-GB" sz="1400" dirty="0"/>
            <a:t> – </a:t>
          </a:r>
          <a:r>
            <a:rPr lang="en-GB" sz="1400" b="1" dirty="0"/>
            <a:t>Interventions</a:t>
          </a:r>
          <a:r>
            <a:rPr lang="en-GB" sz="1400" dirty="0"/>
            <a:t> aimed at the activators as identified above.  ‘Specialist’ and core interventions tailored to each YP’s risks/needs </a:t>
          </a:r>
          <a:endParaRPr lang="en-US" sz="1400" dirty="0"/>
        </a:p>
      </dgm:t>
    </dgm:pt>
    <dgm:pt modelId="{B348E0AA-FCBE-49BD-8808-CF973EE6DB42}" type="parTrans" cxnId="{D2FC090E-B1C3-414B-AC3D-4AD9B690917A}">
      <dgm:prSet/>
      <dgm:spPr/>
      <dgm:t>
        <a:bodyPr/>
        <a:lstStyle/>
        <a:p>
          <a:endParaRPr lang="en-US"/>
        </a:p>
      </dgm:t>
    </dgm:pt>
    <dgm:pt modelId="{F550C3AB-65C0-47C9-9E1D-C19AD20DFFB8}" type="sibTrans" cxnId="{D2FC090E-B1C3-414B-AC3D-4AD9B690917A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44CD9097-9A72-4F5D-A58D-670D4D6162A2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GB" sz="1400" b="1" dirty="0"/>
            <a:t>R </a:t>
          </a:r>
          <a:r>
            <a:rPr lang="en-GB" sz="1400" dirty="0"/>
            <a:t>- </a:t>
          </a:r>
          <a:r>
            <a:rPr lang="en-GB" sz="1400" b="1" dirty="0"/>
            <a:t>Review</a:t>
          </a:r>
          <a:r>
            <a:rPr lang="en-GB" sz="1400" dirty="0"/>
            <a:t> progress towards agreed targets regularly, both in unit and with ‘home’, and revision of  plans if no evidence of progress</a:t>
          </a:r>
          <a:endParaRPr lang="en-US" sz="1200" dirty="0"/>
        </a:p>
      </dgm:t>
    </dgm:pt>
    <dgm:pt modelId="{148CC75F-3BCC-44D6-817B-92DFB85F0FF4}" type="parTrans" cxnId="{53C71017-6213-491E-B3D2-C3A5026C53A5}">
      <dgm:prSet/>
      <dgm:spPr/>
      <dgm:t>
        <a:bodyPr/>
        <a:lstStyle/>
        <a:p>
          <a:endParaRPr lang="en-US"/>
        </a:p>
      </dgm:t>
    </dgm:pt>
    <dgm:pt modelId="{F806F714-1D23-4E31-9CFD-F4D2ED5DD21D}" type="sibTrans" cxnId="{53C71017-6213-491E-B3D2-C3A5026C53A5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6A3EA31D-BF6D-8743-9591-33F139E2F3E6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GB" sz="1400" b="1" dirty="0"/>
            <a:t>S - Sustainability</a:t>
          </a:r>
          <a:r>
            <a:rPr lang="en-GB" sz="1400" dirty="0"/>
            <a:t> always in mind, once activators of positive changes identified, main work is how to replicate/sustain these activators. </a:t>
          </a:r>
          <a:endParaRPr lang="en-US" sz="1200" dirty="0"/>
        </a:p>
      </dgm:t>
    </dgm:pt>
    <dgm:pt modelId="{4AFC0904-98FA-8442-B34A-B092121DA52E}" type="parTrans" cxnId="{5C094A11-EF8B-514F-B163-F2CE42778A88}">
      <dgm:prSet/>
      <dgm:spPr/>
      <dgm:t>
        <a:bodyPr/>
        <a:lstStyle/>
        <a:p>
          <a:endParaRPr lang="en-US"/>
        </a:p>
      </dgm:t>
    </dgm:pt>
    <dgm:pt modelId="{F82AD9A8-936E-9045-8429-5D91BF3E1E23}" type="sibTrans" cxnId="{5C094A11-EF8B-514F-B163-F2CE42778A88}">
      <dgm:prSet/>
      <dgm:spPr/>
      <dgm:t>
        <a:bodyPr/>
        <a:lstStyle/>
        <a:p>
          <a:endParaRPr lang="en-US"/>
        </a:p>
      </dgm:t>
    </dgm:pt>
    <dgm:pt modelId="{BCAD3E20-C4B5-4810-AE29-E5E47F536A02}" type="pres">
      <dgm:prSet presAssocID="{B479E303-967B-4608-9514-37FF6F33DCED}" presName="root" presStyleCnt="0">
        <dgm:presLayoutVars>
          <dgm:dir/>
          <dgm:resizeHandles val="exact"/>
        </dgm:presLayoutVars>
      </dgm:prSet>
      <dgm:spPr/>
    </dgm:pt>
    <dgm:pt modelId="{AE4814F5-3BB9-44AB-901C-92D9828F0FAB}" type="pres">
      <dgm:prSet presAssocID="{B479E303-967B-4608-9514-37FF6F33DCED}" presName="container" presStyleCnt="0">
        <dgm:presLayoutVars>
          <dgm:dir/>
          <dgm:resizeHandles val="exact"/>
        </dgm:presLayoutVars>
      </dgm:prSet>
      <dgm:spPr/>
    </dgm:pt>
    <dgm:pt modelId="{E77E9726-627B-4F34-B558-2C782C89817E}" type="pres">
      <dgm:prSet presAssocID="{BA240B57-33BC-4201-A4CD-B6D3FEA66D0F}" presName="compNode" presStyleCnt="0"/>
      <dgm:spPr/>
    </dgm:pt>
    <dgm:pt modelId="{3BCAE2CF-A742-4177-973E-23B84F5A13A6}" type="pres">
      <dgm:prSet presAssocID="{BA240B57-33BC-4201-A4CD-B6D3FEA66D0F}" presName="iconBgRect" presStyleLbl="bgShp" presStyleIdx="0" presStyleCnt="6" custLinFactNeighborX="-13804" custLinFactNeighborY="-4590"/>
      <dgm:spPr/>
    </dgm:pt>
    <dgm:pt modelId="{89766D56-7959-4769-B6BB-275249B56C57}" type="pres">
      <dgm:prSet presAssocID="{BA240B57-33BC-4201-A4CD-B6D3FEA66D0F}" presName="iconRect" presStyleLbl="node1" presStyleIdx="0" presStyleCnt="6" custLinFactNeighborX="-26199" custLinFactNeighborY="-1437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agnifying glass"/>
        </a:ext>
      </dgm:extLst>
    </dgm:pt>
    <dgm:pt modelId="{E7F149B8-CBBF-4A33-8753-6ED0B3807862}" type="pres">
      <dgm:prSet presAssocID="{BA240B57-33BC-4201-A4CD-B6D3FEA66D0F}" presName="spaceRect" presStyleCnt="0"/>
      <dgm:spPr/>
    </dgm:pt>
    <dgm:pt modelId="{6D333EA8-9F50-498B-9E0B-63971613FDD1}" type="pres">
      <dgm:prSet presAssocID="{BA240B57-33BC-4201-A4CD-B6D3FEA66D0F}" presName="textRect" presStyleLbl="revTx" presStyleIdx="0" presStyleCnt="6" custScaleX="123701" custScaleY="97212" custLinFactNeighborX="917" custLinFactNeighborY="-9352">
        <dgm:presLayoutVars>
          <dgm:chMax val="1"/>
          <dgm:chPref val="1"/>
        </dgm:presLayoutVars>
      </dgm:prSet>
      <dgm:spPr/>
    </dgm:pt>
    <dgm:pt modelId="{0A023266-37EC-458D-80F3-3B6C6173329E}" type="pres">
      <dgm:prSet presAssocID="{418CADA1-40DE-4684-A455-43A4DFCB2A2C}" presName="sibTrans" presStyleLbl="sibTrans2D1" presStyleIdx="0" presStyleCnt="0"/>
      <dgm:spPr/>
    </dgm:pt>
    <dgm:pt modelId="{86ADAA91-7C53-4CAE-ABA8-2ED0266A2469}" type="pres">
      <dgm:prSet presAssocID="{52D30513-6F19-494A-B447-922A3A8BCFB9}" presName="compNode" presStyleCnt="0"/>
      <dgm:spPr/>
    </dgm:pt>
    <dgm:pt modelId="{47B91C7D-3885-412A-8B7E-7710C97CA7EC}" type="pres">
      <dgm:prSet presAssocID="{52D30513-6F19-494A-B447-922A3A8BCFB9}" presName="iconBgRect" presStyleLbl="bgShp" presStyleIdx="1" presStyleCnt="6" custLinFactNeighborX="-35512" custLinFactNeighborY="-2596"/>
      <dgm:spPr/>
    </dgm:pt>
    <dgm:pt modelId="{2FFDA2AD-5CAC-41B1-903E-1116AFC6CD14}" type="pres">
      <dgm:prSet presAssocID="{52D30513-6F19-494A-B447-922A3A8BCFB9}" presName="iconRect" presStyleLbl="node1" presStyleIdx="1" presStyleCnt="6" custLinFactNeighborX="-57518" custLinFactNeighborY="-6101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ullseye"/>
        </a:ext>
      </dgm:extLst>
    </dgm:pt>
    <dgm:pt modelId="{421132B4-6685-42DC-A126-40C4727375B1}" type="pres">
      <dgm:prSet presAssocID="{52D30513-6F19-494A-B447-922A3A8BCFB9}" presName="spaceRect" presStyleCnt="0"/>
      <dgm:spPr/>
    </dgm:pt>
    <dgm:pt modelId="{CD2E97AD-B0EC-4FD8-8305-4C3613F71C98}" type="pres">
      <dgm:prSet presAssocID="{52D30513-6F19-494A-B447-922A3A8BCFB9}" presName="textRect" presStyleLbl="revTx" presStyleIdx="1" presStyleCnt="6" custScaleX="144477" custLinFactNeighborX="2788">
        <dgm:presLayoutVars>
          <dgm:chMax val="1"/>
          <dgm:chPref val="1"/>
        </dgm:presLayoutVars>
      </dgm:prSet>
      <dgm:spPr/>
    </dgm:pt>
    <dgm:pt modelId="{AA50161B-4918-41DC-B5AC-A68750D7EB85}" type="pres">
      <dgm:prSet presAssocID="{471C398E-AFF7-499A-8B6C-61F5AE7898EF}" presName="sibTrans" presStyleLbl="sibTrans2D1" presStyleIdx="0" presStyleCnt="0"/>
      <dgm:spPr/>
    </dgm:pt>
    <dgm:pt modelId="{EDD79FF9-39A0-431F-B652-1EA77FFFB8EA}" type="pres">
      <dgm:prSet presAssocID="{A9E7F31E-29B5-4CBE-AC4F-5DEC7D0256F2}" presName="compNode" presStyleCnt="0"/>
      <dgm:spPr/>
    </dgm:pt>
    <dgm:pt modelId="{95A5F345-CF27-4625-BF5D-483D089DE3CC}" type="pres">
      <dgm:prSet presAssocID="{A9E7F31E-29B5-4CBE-AC4F-5DEC7D0256F2}" presName="iconBgRect" presStyleLbl="bgShp" presStyleIdx="2" presStyleCnt="6" custLinFactNeighborX="-12872" custLinFactNeighborY="-44654"/>
      <dgm:spPr/>
    </dgm:pt>
    <dgm:pt modelId="{94E23642-9F51-421B-BC2F-898460E810CC}" type="pres">
      <dgm:prSet presAssocID="{A9E7F31E-29B5-4CBE-AC4F-5DEC7D0256F2}" presName="iconRect" presStyleLbl="node1" presStyleIdx="2" presStyleCnt="6" custLinFactNeighborX="-23143" custLinFactNeighborY="-76462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Group"/>
        </a:ext>
      </dgm:extLst>
    </dgm:pt>
    <dgm:pt modelId="{254884DE-7ECD-4933-A4F2-F10D21B74A1B}" type="pres">
      <dgm:prSet presAssocID="{A9E7F31E-29B5-4CBE-AC4F-5DEC7D0256F2}" presName="spaceRect" presStyleCnt="0"/>
      <dgm:spPr/>
    </dgm:pt>
    <dgm:pt modelId="{F42416AE-404F-4957-B06D-70D17D9F9CC4}" type="pres">
      <dgm:prSet presAssocID="{A9E7F31E-29B5-4CBE-AC4F-5DEC7D0256F2}" presName="textRect" presStyleLbl="revTx" presStyleIdx="2" presStyleCnt="6" custScaleX="123701" custLinFactNeighborX="917" custLinFactNeighborY="-21855">
        <dgm:presLayoutVars>
          <dgm:chMax val="1"/>
          <dgm:chPref val="1"/>
        </dgm:presLayoutVars>
      </dgm:prSet>
      <dgm:spPr/>
    </dgm:pt>
    <dgm:pt modelId="{0F11A723-F937-48D0-9443-B6BC70743E01}" type="pres">
      <dgm:prSet presAssocID="{BF266F69-5203-4895-9281-D81C826DAB28}" presName="sibTrans" presStyleLbl="sibTrans2D1" presStyleIdx="0" presStyleCnt="0"/>
      <dgm:spPr/>
    </dgm:pt>
    <dgm:pt modelId="{92A5C5CB-697F-4F1E-B839-D92732809FBF}" type="pres">
      <dgm:prSet presAssocID="{BC8DB16A-956C-4457-91D8-ED7395D7709F}" presName="compNode" presStyleCnt="0"/>
      <dgm:spPr/>
    </dgm:pt>
    <dgm:pt modelId="{627E84D6-574A-45F7-B8FD-F1A036E5EE09}" type="pres">
      <dgm:prSet presAssocID="{BC8DB16A-956C-4457-91D8-ED7395D7709F}" presName="iconBgRect" presStyleLbl="bgShp" presStyleIdx="3" presStyleCnt="6" custLinFactNeighborX="-37101" custLinFactNeighborY="-21785"/>
      <dgm:spPr/>
    </dgm:pt>
    <dgm:pt modelId="{CEA8930E-C8CB-4F65-B0F9-6D5C7A5CBEC1}" type="pres">
      <dgm:prSet presAssocID="{BC8DB16A-956C-4457-91D8-ED7395D7709F}" presName="iconRect" presStyleLbl="node1" presStyleIdx="3" presStyleCnt="6" custLinFactNeighborX="-63709" custLinFactNeighborY="-3598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heckmark"/>
        </a:ext>
      </dgm:extLst>
    </dgm:pt>
    <dgm:pt modelId="{BF39330C-07C7-47E2-8A16-4E039512A3C7}" type="pres">
      <dgm:prSet presAssocID="{BC8DB16A-956C-4457-91D8-ED7395D7709F}" presName="spaceRect" presStyleCnt="0"/>
      <dgm:spPr/>
    </dgm:pt>
    <dgm:pt modelId="{DAFBABE6-02D1-49DE-9056-1EC32941E7AA}" type="pres">
      <dgm:prSet presAssocID="{BC8DB16A-956C-4457-91D8-ED7395D7709F}" presName="textRect" presStyleLbl="revTx" presStyleIdx="3" presStyleCnt="6" custScaleX="144477" custLinFactNeighborX="2788" custLinFactNeighborY="-21855">
        <dgm:presLayoutVars>
          <dgm:chMax val="1"/>
          <dgm:chPref val="1"/>
        </dgm:presLayoutVars>
      </dgm:prSet>
      <dgm:spPr/>
    </dgm:pt>
    <dgm:pt modelId="{2CF11764-501B-41C3-9D24-71BDA4610544}" type="pres">
      <dgm:prSet presAssocID="{F550C3AB-65C0-47C9-9E1D-C19AD20DFFB8}" presName="sibTrans" presStyleLbl="sibTrans2D1" presStyleIdx="0" presStyleCnt="0"/>
      <dgm:spPr/>
    </dgm:pt>
    <dgm:pt modelId="{32B92C0D-3E03-406B-A654-C200DE136B14}" type="pres">
      <dgm:prSet presAssocID="{44CD9097-9A72-4F5D-A58D-670D4D6162A2}" presName="compNode" presStyleCnt="0"/>
      <dgm:spPr/>
    </dgm:pt>
    <dgm:pt modelId="{EAF3553F-1A05-4B5D-9AC7-FDC49766C529}" type="pres">
      <dgm:prSet presAssocID="{44CD9097-9A72-4F5D-A58D-670D4D6162A2}" presName="iconBgRect" presStyleLbl="bgShp" presStyleIdx="4" presStyleCnt="6" custLinFactNeighborX="-12872" custLinFactNeighborY="-37264"/>
      <dgm:spPr/>
    </dgm:pt>
    <dgm:pt modelId="{903F27C6-69AC-431F-B02B-0D5A1D25811E}" type="pres">
      <dgm:prSet presAssocID="{44CD9097-9A72-4F5D-A58D-670D4D6162A2}" presName="iconRect" presStyleLbl="node1" presStyleIdx="4" presStyleCnt="6" custLinFactNeighborX="-21738" custLinFactNeighborY="-60574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resentation with Checklist"/>
        </a:ext>
      </dgm:extLst>
    </dgm:pt>
    <dgm:pt modelId="{EA0D8D02-B648-4F24-84E8-56DDF703BE97}" type="pres">
      <dgm:prSet presAssocID="{44CD9097-9A72-4F5D-A58D-670D4D6162A2}" presName="spaceRect" presStyleCnt="0"/>
      <dgm:spPr/>
    </dgm:pt>
    <dgm:pt modelId="{B809E662-5BF0-4E69-A0A0-6A7FBAE6EE75}" type="pres">
      <dgm:prSet presAssocID="{44CD9097-9A72-4F5D-A58D-670D4D6162A2}" presName="textRect" presStyleLbl="revTx" presStyleIdx="4" presStyleCnt="6" custScaleX="123701" custLinFactNeighborX="917" custLinFactNeighborY="-32054">
        <dgm:presLayoutVars>
          <dgm:chMax val="1"/>
          <dgm:chPref val="1"/>
        </dgm:presLayoutVars>
      </dgm:prSet>
      <dgm:spPr/>
    </dgm:pt>
    <dgm:pt modelId="{A3D0792A-C06A-4DAC-ADAF-873BCAE28A12}" type="pres">
      <dgm:prSet presAssocID="{F806F714-1D23-4E31-9CFD-F4D2ED5DD21D}" presName="sibTrans" presStyleLbl="sibTrans2D1" presStyleIdx="0" presStyleCnt="0"/>
      <dgm:spPr/>
    </dgm:pt>
    <dgm:pt modelId="{0848A01B-EEBF-4AC2-8D03-83657193F645}" type="pres">
      <dgm:prSet presAssocID="{6A3EA31D-BF6D-8743-9591-33F139E2F3E6}" presName="compNode" presStyleCnt="0"/>
      <dgm:spPr/>
    </dgm:pt>
    <dgm:pt modelId="{FA481A91-5F49-4BF7-99F3-FBF30E115D26}" type="pres">
      <dgm:prSet presAssocID="{6A3EA31D-BF6D-8743-9591-33F139E2F3E6}" presName="iconBgRect" presStyleLbl="bgShp" presStyleIdx="5" presStyleCnt="6" custLinFactNeighborX="-39058" custLinFactNeighborY="-35401"/>
      <dgm:spPr/>
    </dgm:pt>
    <dgm:pt modelId="{0177042F-754B-453A-9CFC-5F2D628C7EB1}" type="pres">
      <dgm:prSet presAssocID="{6A3EA31D-BF6D-8743-9591-33F139E2F3E6}" presName="iconRect" presStyleLbl="node1" presStyleIdx="5" presStyleCnt="6" custLinFactNeighborX="-63239" custLinFactNeighborY="-60105"/>
      <dgm:spPr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ead with Gears"/>
        </a:ext>
      </dgm:extLst>
    </dgm:pt>
    <dgm:pt modelId="{9AD64ABE-E2D8-4C11-842A-9A8C4B1FD962}" type="pres">
      <dgm:prSet presAssocID="{6A3EA31D-BF6D-8743-9591-33F139E2F3E6}" presName="spaceRect" presStyleCnt="0"/>
      <dgm:spPr/>
    </dgm:pt>
    <dgm:pt modelId="{17931791-92B7-4E6A-A917-922B420EDF4C}" type="pres">
      <dgm:prSet presAssocID="{6A3EA31D-BF6D-8743-9591-33F139E2F3E6}" presName="textRect" presStyleLbl="revTx" presStyleIdx="5" presStyleCnt="6" custScaleX="144477" custLinFactNeighborX="2788" custLinFactNeighborY="-36484">
        <dgm:presLayoutVars>
          <dgm:chMax val="1"/>
          <dgm:chPref val="1"/>
        </dgm:presLayoutVars>
      </dgm:prSet>
      <dgm:spPr/>
    </dgm:pt>
  </dgm:ptLst>
  <dgm:cxnLst>
    <dgm:cxn modelId="{6867F402-92D5-4444-A43C-ABDAB6BDE8ED}" srcId="{B479E303-967B-4608-9514-37FF6F33DCED}" destId="{BA240B57-33BC-4201-A4CD-B6D3FEA66D0F}" srcOrd="0" destOrd="0" parTransId="{4EEFD90D-2748-41CE-8E37-652C25654F46}" sibTransId="{418CADA1-40DE-4684-A455-43A4DFCB2A2C}"/>
    <dgm:cxn modelId="{76B15A09-F9AF-4464-9447-1FD8845E8778}" srcId="{B479E303-967B-4608-9514-37FF6F33DCED}" destId="{52D30513-6F19-494A-B447-922A3A8BCFB9}" srcOrd="1" destOrd="0" parTransId="{393A6F49-90AA-41CA-8A5F-C07CAA080436}" sibTransId="{471C398E-AFF7-499A-8B6C-61F5AE7898EF}"/>
    <dgm:cxn modelId="{D2FC090E-B1C3-414B-AC3D-4AD9B690917A}" srcId="{B479E303-967B-4608-9514-37FF6F33DCED}" destId="{BC8DB16A-956C-4457-91D8-ED7395D7709F}" srcOrd="3" destOrd="0" parTransId="{B348E0AA-FCBE-49BD-8808-CF973EE6DB42}" sibTransId="{F550C3AB-65C0-47C9-9E1D-C19AD20DFFB8}"/>
    <dgm:cxn modelId="{5C094A11-EF8B-514F-B163-F2CE42778A88}" srcId="{B479E303-967B-4608-9514-37FF6F33DCED}" destId="{6A3EA31D-BF6D-8743-9591-33F139E2F3E6}" srcOrd="5" destOrd="0" parTransId="{4AFC0904-98FA-8442-B34A-B092121DA52E}" sibTransId="{F82AD9A8-936E-9045-8429-5D91BF3E1E23}"/>
    <dgm:cxn modelId="{53C71017-6213-491E-B3D2-C3A5026C53A5}" srcId="{B479E303-967B-4608-9514-37FF6F33DCED}" destId="{44CD9097-9A72-4F5D-A58D-670D4D6162A2}" srcOrd="4" destOrd="0" parTransId="{148CC75F-3BCC-44D6-817B-92DFB85F0FF4}" sibTransId="{F806F714-1D23-4E31-9CFD-F4D2ED5DD21D}"/>
    <dgm:cxn modelId="{F4956E18-8564-46B1-92E4-F6F033EBFC0A}" type="presOf" srcId="{BC8DB16A-956C-4457-91D8-ED7395D7709F}" destId="{DAFBABE6-02D1-49DE-9056-1EC32941E7AA}" srcOrd="0" destOrd="0" presId="urn:microsoft.com/office/officeart/2018/2/layout/IconCircleList"/>
    <dgm:cxn modelId="{185EA739-470C-465F-BE4C-37995A2AED70}" type="presOf" srcId="{52D30513-6F19-494A-B447-922A3A8BCFB9}" destId="{CD2E97AD-B0EC-4FD8-8305-4C3613F71C98}" srcOrd="0" destOrd="0" presId="urn:microsoft.com/office/officeart/2018/2/layout/IconCircleList"/>
    <dgm:cxn modelId="{5D6E2D63-0178-4D7C-83A8-FDC6C84027B9}" type="presOf" srcId="{F550C3AB-65C0-47C9-9E1D-C19AD20DFFB8}" destId="{2CF11764-501B-41C3-9D24-71BDA4610544}" srcOrd="0" destOrd="0" presId="urn:microsoft.com/office/officeart/2018/2/layout/IconCircleList"/>
    <dgm:cxn modelId="{645AC168-21DA-434A-BECA-B87F7DF5869A}" type="presOf" srcId="{B479E303-967B-4608-9514-37FF6F33DCED}" destId="{BCAD3E20-C4B5-4810-AE29-E5E47F536A02}" srcOrd="0" destOrd="0" presId="urn:microsoft.com/office/officeart/2018/2/layout/IconCircleList"/>
    <dgm:cxn modelId="{3C45196B-020E-4E5B-89FC-7AF97179FC12}" type="presOf" srcId="{418CADA1-40DE-4684-A455-43A4DFCB2A2C}" destId="{0A023266-37EC-458D-80F3-3B6C6173329E}" srcOrd="0" destOrd="0" presId="urn:microsoft.com/office/officeart/2018/2/layout/IconCircleList"/>
    <dgm:cxn modelId="{8ADF076D-7189-4897-ACF6-ACC44F40B279}" type="presOf" srcId="{BA240B57-33BC-4201-A4CD-B6D3FEA66D0F}" destId="{6D333EA8-9F50-498B-9E0B-63971613FDD1}" srcOrd="0" destOrd="0" presId="urn:microsoft.com/office/officeart/2018/2/layout/IconCircleList"/>
    <dgm:cxn modelId="{7ECEB255-1EFD-4AD8-A22A-633CB5A8EE42}" type="presOf" srcId="{471C398E-AFF7-499A-8B6C-61F5AE7898EF}" destId="{AA50161B-4918-41DC-B5AC-A68750D7EB85}" srcOrd="0" destOrd="0" presId="urn:microsoft.com/office/officeart/2018/2/layout/IconCircleList"/>
    <dgm:cxn modelId="{03C76B9A-30E2-4725-A238-3406BE5B6BF6}" srcId="{B479E303-967B-4608-9514-37FF6F33DCED}" destId="{A9E7F31E-29B5-4CBE-AC4F-5DEC7D0256F2}" srcOrd="2" destOrd="0" parTransId="{30F2349B-01DB-4DCE-B351-C84AB1B89A5D}" sibTransId="{BF266F69-5203-4895-9281-D81C826DAB28}"/>
    <dgm:cxn modelId="{70C6E6A5-403F-4571-8022-9902C925C2B9}" type="presOf" srcId="{BF266F69-5203-4895-9281-D81C826DAB28}" destId="{0F11A723-F937-48D0-9443-B6BC70743E01}" srcOrd="0" destOrd="0" presId="urn:microsoft.com/office/officeart/2018/2/layout/IconCircleList"/>
    <dgm:cxn modelId="{BF1345D4-00A6-4A97-A333-F90EDFB0772E}" type="presOf" srcId="{F806F714-1D23-4E31-9CFD-F4D2ED5DD21D}" destId="{A3D0792A-C06A-4DAC-ADAF-873BCAE28A12}" srcOrd="0" destOrd="0" presId="urn:microsoft.com/office/officeart/2018/2/layout/IconCircleList"/>
    <dgm:cxn modelId="{11C85CD5-B927-4028-9E27-5D39417E458D}" type="presOf" srcId="{44CD9097-9A72-4F5D-A58D-670D4D6162A2}" destId="{B809E662-5BF0-4E69-A0A0-6A7FBAE6EE75}" srcOrd="0" destOrd="0" presId="urn:microsoft.com/office/officeart/2018/2/layout/IconCircleList"/>
    <dgm:cxn modelId="{F5AAF2DA-5065-495C-A882-F5D3004B9F7F}" type="presOf" srcId="{A9E7F31E-29B5-4CBE-AC4F-5DEC7D0256F2}" destId="{F42416AE-404F-4957-B06D-70D17D9F9CC4}" srcOrd="0" destOrd="0" presId="urn:microsoft.com/office/officeart/2018/2/layout/IconCircleList"/>
    <dgm:cxn modelId="{95C519E2-0154-46D2-A379-E417534FF323}" type="presOf" srcId="{6A3EA31D-BF6D-8743-9591-33F139E2F3E6}" destId="{17931791-92B7-4E6A-A917-922B420EDF4C}" srcOrd="0" destOrd="0" presId="urn:microsoft.com/office/officeart/2018/2/layout/IconCircleList"/>
    <dgm:cxn modelId="{AEDD22E8-1FB6-440C-88F1-9CC6B91BB470}" type="presParOf" srcId="{BCAD3E20-C4B5-4810-AE29-E5E47F536A02}" destId="{AE4814F5-3BB9-44AB-901C-92D9828F0FAB}" srcOrd="0" destOrd="0" presId="urn:microsoft.com/office/officeart/2018/2/layout/IconCircleList"/>
    <dgm:cxn modelId="{C4C6C19F-6877-4954-BC9A-5317F2B1562A}" type="presParOf" srcId="{AE4814F5-3BB9-44AB-901C-92D9828F0FAB}" destId="{E77E9726-627B-4F34-B558-2C782C89817E}" srcOrd="0" destOrd="0" presId="urn:microsoft.com/office/officeart/2018/2/layout/IconCircleList"/>
    <dgm:cxn modelId="{BC5E2EFE-698B-4472-94C5-30B61AC6EB99}" type="presParOf" srcId="{E77E9726-627B-4F34-B558-2C782C89817E}" destId="{3BCAE2CF-A742-4177-973E-23B84F5A13A6}" srcOrd="0" destOrd="0" presId="urn:microsoft.com/office/officeart/2018/2/layout/IconCircleList"/>
    <dgm:cxn modelId="{AD14EB04-2382-460E-9B48-7CEFC111157A}" type="presParOf" srcId="{E77E9726-627B-4F34-B558-2C782C89817E}" destId="{89766D56-7959-4769-B6BB-275249B56C57}" srcOrd="1" destOrd="0" presId="urn:microsoft.com/office/officeart/2018/2/layout/IconCircleList"/>
    <dgm:cxn modelId="{6789B1EB-1170-4EE7-A09A-A0B745BF2F6E}" type="presParOf" srcId="{E77E9726-627B-4F34-B558-2C782C89817E}" destId="{E7F149B8-CBBF-4A33-8753-6ED0B3807862}" srcOrd="2" destOrd="0" presId="urn:microsoft.com/office/officeart/2018/2/layout/IconCircleList"/>
    <dgm:cxn modelId="{B2863112-5014-4503-8B85-9C96B1151609}" type="presParOf" srcId="{E77E9726-627B-4F34-B558-2C782C89817E}" destId="{6D333EA8-9F50-498B-9E0B-63971613FDD1}" srcOrd="3" destOrd="0" presId="urn:microsoft.com/office/officeart/2018/2/layout/IconCircleList"/>
    <dgm:cxn modelId="{B49C39DC-7A66-41F6-BA3F-69F73E5B7B91}" type="presParOf" srcId="{AE4814F5-3BB9-44AB-901C-92D9828F0FAB}" destId="{0A023266-37EC-458D-80F3-3B6C6173329E}" srcOrd="1" destOrd="0" presId="urn:microsoft.com/office/officeart/2018/2/layout/IconCircleList"/>
    <dgm:cxn modelId="{04069B5D-75A3-4F5F-9B3A-B715596D251A}" type="presParOf" srcId="{AE4814F5-3BB9-44AB-901C-92D9828F0FAB}" destId="{86ADAA91-7C53-4CAE-ABA8-2ED0266A2469}" srcOrd="2" destOrd="0" presId="urn:microsoft.com/office/officeart/2018/2/layout/IconCircleList"/>
    <dgm:cxn modelId="{AC334CB7-68AB-46A9-BE48-E0473E4394F8}" type="presParOf" srcId="{86ADAA91-7C53-4CAE-ABA8-2ED0266A2469}" destId="{47B91C7D-3885-412A-8B7E-7710C97CA7EC}" srcOrd="0" destOrd="0" presId="urn:microsoft.com/office/officeart/2018/2/layout/IconCircleList"/>
    <dgm:cxn modelId="{ED0BDDE3-0372-4D6B-B1B0-E5C0676A249E}" type="presParOf" srcId="{86ADAA91-7C53-4CAE-ABA8-2ED0266A2469}" destId="{2FFDA2AD-5CAC-41B1-903E-1116AFC6CD14}" srcOrd="1" destOrd="0" presId="urn:microsoft.com/office/officeart/2018/2/layout/IconCircleList"/>
    <dgm:cxn modelId="{078DAB52-9BF2-4583-93DF-4F29FAC54349}" type="presParOf" srcId="{86ADAA91-7C53-4CAE-ABA8-2ED0266A2469}" destId="{421132B4-6685-42DC-A126-40C4727375B1}" srcOrd="2" destOrd="0" presId="urn:microsoft.com/office/officeart/2018/2/layout/IconCircleList"/>
    <dgm:cxn modelId="{0EB58147-924E-4257-8DB8-73C7B2EEC28A}" type="presParOf" srcId="{86ADAA91-7C53-4CAE-ABA8-2ED0266A2469}" destId="{CD2E97AD-B0EC-4FD8-8305-4C3613F71C98}" srcOrd="3" destOrd="0" presId="urn:microsoft.com/office/officeart/2018/2/layout/IconCircleList"/>
    <dgm:cxn modelId="{C95357C5-4D43-416C-B293-9C7FB501D287}" type="presParOf" srcId="{AE4814F5-3BB9-44AB-901C-92D9828F0FAB}" destId="{AA50161B-4918-41DC-B5AC-A68750D7EB85}" srcOrd="3" destOrd="0" presId="urn:microsoft.com/office/officeart/2018/2/layout/IconCircleList"/>
    <dgm:cxn modelId="{D82145AC-FD86-4E7F-A8AB-B904584CAF25}" type="presParOf" srcId="{AE4814F5-3BB9-44AB-901C-92D9828F0FAB}" destId="{EDD79FF9-39A0-431F-B652-1EA77FFFB8EA}" srcOrd="4" destOrd="0" presId="urn:microsoft.com/office/officeart/2018/2/layout/IconCircleList"/>
    <dgm:cxn modelId="{437EA6E3-EC86-49D8-8394-D0DAAE08F40F}" type="presParOf" srcId="{EDD79FF9-39A0-431F-B652-1EA77FFFB8EA}" destId="{95A5F345-CF27-4625-BF5D-483D089DE3CC}" srcOrd="0" destOrd="0" presId="urn:microsoft.com/office/officeart/2018/2/layout/IconCircleList"/>
    <dgm:cxn modelId="{CFB3141E-D41C-4CB7-8CE9-FF696A3079BA}" type="presParOf" srcId="{EDD79FF9-39A0-431F-B652-1EA77FFFB8EA}" destId="{94E23642-9F51-421B-BC2F-898460E810CC}" srcOrd="1" destOrd="0" presId="urn:microsoft.com/office/officeart/2018/2/layout/IconCircleList"/>
    <dgm:cxn modelId="{7962EEBF-EB37-4C83-823D-1C3A39FABF67}" type="presParOf" srcId="{EDD79FF9-39A0-431F-B652-1EA77FFFB8EA}" destId="{254884DE-7ECD-4933-A4F2-F10D21B74A1B}" srcOrd="2" destOrd="0" presId="urn:microsoft.com/office/officeart/2018/2/layout/IconCircleList"/>
    <dgm:cxn modelId="{3898CB2E-298C-419D-8E0B-A3092211FAF4}" type="presParOf" srcId="{EDD79FF9-39A0-431F-B652-1EA77FFFB8EA}" destId="{F42416AE-404F-4957-B06D-70D17D9F9CC4}" srcOrd="3" destOrd="0" presId="urn:microsoft.com/office/officeart/2018/2/layout/IconCircleList"/>
    <dgm:cxn modelId="{D283DE5E-0061-4414-94DE-F3ABBC9E5CE5}" type="presParOf" srcId="{AE4814F5-3BB9-44AB-901C-92D9828F0FAB}" destId="{0F11A723-F937-48D0-9443-B6BC70743E01}" srcOrd="5" destOrd="0" presId="urn:microsoft.com/office/officeart/2018/2/layout/IconCircleList"/>
    <dgm:cxn modelId="{DDDBB806-2846-4E00-99D1-11EB0BC0BFC0}" type="presParOf" srcId="{AE4814F5-3BB9-44AB-901C-92D9828F0FAB}" destId="{92A5C5CB-697F-4F1E-B839-D92732809FBF}" srcOrd="6" destOrd="0" presId="urn:microsoft.com/office/officeart/2018/2/layout/IconCircleList"/>
    <dgm:cxn modelId="{76E12707-98BE-4D10-8BFA-B34166001F56}" type="presParOf" srcId="{92A5C5CB-697F-4F1E-B839-D92732809FBF}" destId="{627E84D6-574A-45F7-B8FD-F1A036E5EE09}" srcOrd="0" destOrd="0" presId="urn:microsoft.com/office/officeart/2018/2/layout/IconCircleList"/>
    <dgm:cxn modelId="{C5D40C2F-A357-4681-9619-A9FE4C9D76B4}" type="presParOf" srcId="{92A5C5CB-697F-4F1E-B839-D92732809FBF}" destId="{CEA8930E-C8CB-4F65-B0F9-6D5C7A5CBEC1}" srcOrd="1" destOrd="0" presId="urn:microsoft.com/office/officeart/2018/2/layout/IconCircleList"/>
    <dgm:cxn modelId="{6CD8B4FA-3660-4AFB-9D2F-8C2C05C297C0}" type="presParOf" srcId="{92A5C5CB-697F-4F1E-B839-D92732809FBF}" destId="{BF39330C-07C7-47E2-8A16-4E039512A3C7}" srcOrd="2" destOrd="0" presId="urn:microsoft.com/office/officeart/2018/2/layout/IconCircleList"/>
    <dgm:cxn modelId="{A4ADCBB7-7E3B-4715-8DC7-A8204A80CA2F}" type="presParOf" srcId="{92A5C5CB-697F-4F1E-B839-D92732809FBF}" destId="{DAFBABE6-02D1-49DE-9056-1EC32941E7AA}" srcOrd="3" destOrd="0" presId="urn:microsoft.com/office/officeart/2018/2/layout/IconCircleList"/>
    <dgm:cxn modelId="{0C5C5DA6-6C3E-4785-BFA2-2FAE2C630236}" type="presParOf" srcId="{AE4814F5-3BB9-44AB-901C-92D9828F0FAB}" destId="{2CF11764-501B-41C3-9D24-71BDA4610544}" srcOrd="7" destOrd="0" presId="urn:microsoft.com/office/officeart/2018/2/layout/IconCircleList"/>
    <dgm:cxn modelId="{0E9CDFAA-990A-426B-A596-48B49C3BA4CC}" type="presParOf" srcId="{AE4814F5-3BB9-44AB-901C-92D9828F0FAB}" destId="{32B92C0D-3E03-406B-A654-C200DE136B14}" srcOrd="8" destOrd="0" presId="urn:microsoft.com/office/officeart/2018/2/layout/IconCircleList"/>
    <dgm:cxn modelId="{3B78842B-6C82-43A3-8D47-B4E4A5F08ED4}" type="presParOf" srcId="{32B92C0D-3E03-406B-A654-C200DE136B14}" destId="{EAF3553F-1A05-4B5D-9AC7-FDC49766C529}" srcOrd="0" destOrd="0" presId="urn:microsoft.com/office/officeart/2018/2/layout/IconCircleList"/>
    <dgm:cxn modelId="{A05E7492-7C50-4A9D-9A23-3DA142120B22}" type="presParOf" srcId="{32B92C0D-3E03-406B-A654-C200DE136B14}" destId="{903F27C6-69AC-431F-B02B-0D5A1D25811E}" srcOrd="1" destOrd="0" presId="urn:microsoft.com/office/officeart/2018/2/layout/IconCircleList"/>
    <dgm:cxn modelId="{4390DAB1-9172-433A-9EEA-7C8FD179B7E0}" type="presParOf" srcId="{32B92C0D-3E03-406B-A654-C200DE136B14}" destId="{EA0D8D02-B648-4F24-84E8-56DDF703BE97}" srcOrd="2" destOrd="0" presId="urn:microsoft.com/office/officeart/2018/2/layout/IconCircleList"/>
    <dgm:cxn modelId="{653994EA-E586-4F85-A938-D12EDC5F2186}" type="presParOf" srcId="{32B92C0D-3E03-406B-A654-C200DE136B14}" destId="{B809E662-5BF0-4E69-A0A0-6A7FBAE6EE75}" srcOrd="3" destOrd="0" presId="urn:microsoft.com/office/officeart/2018/2/layout/IconCircleList"/>
    <dgm:cxn modelId="{5E29D6FB-3162-4DD6-845A-C8F41C994FF8}" type="presParOf" srcId="{AE4814F5-3BB9-44AB-901C-92D9828F0FAB}" destId="{A3D0792A-C06A-4DAC-ADAF-873BCAE28A12}" srcOrd="9" destOrd="0" presId="urn:microsoft.com/office/officeart/2018/2/layout/IconCircleList"/>
    <dgm:cxn modelId="{7B479052-2658-48D4-B9F1-54C3C587CE14}" type="presParOf" srcId="{AE4814F5-3BB9-44AB-901C-92D9828F0FAB}" destId="{0848A01B-EEBF-4AC2-8D03-83657193F645}" srcOrd="10" destOrd="0" presId="urn:microsoft.com/office/officeart/2018/2/layout/IconCircleList"/>
    <dgm:cxn modelId="{60784084-31A8-4E91-8F45-9A719E23F4DE}" type="presParOf" srcId="{0848A01B-EEBF-4AC2-8D03-83657193F645}" destId="{FA481A91-5F49-4BF7-99F3-FBF30E115D26}" srcOrd="0" destOrd="0" presId="urn:microsoft.com/office/officeart/2018/2/layout/IconCircleList"/>
    <dgm:cxn modelId="{CD507A1F-6D5E-4698-B4FE-44D99B04F75A}" type="presParOf" srcId="{0848A01B-EEBF-4AC2-8D03-83657193F645}" destId="{0177042F-754B-453A-9CFC-5F2D628C7EB1}" srcOrd="1" destOrd="0" presId="urn:microsoft.com/office/officeart/2018/2/layout/IconCircleList"/>
    <dgm:cxn modelId="{96501546-73FC-4880-A00F-CB3E853EDF18}" type="presParOf" srcId="{0848A01B-EEBF-4AC2-8D03-83657193F645}" destId="{9AD64ABE-E2D8-4C11-842A-9A8C4B1FD962}" srcOrd="2" destOrd="0" presId="urn:microsoft.com/office/officeart/2018/2/layout/IconCircleList"/>
    <dgm:cxn modelId="{EF86C160-EDF0-4B56-8AC4-705B1339FBE3}" type="presParOf" srcId="{0848A01B-EEBF-4AC2-8D03-83657193F645}" destId="{17931791-92B7-4E6A-A917-922B420EDF4C}" srcOrd="3" destOrd="0" presId="urn:microsoft.com/office/officeart/2018/2/layout/IconCircle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BCAE2CF-A742-4177-973E-23B84F5A13A6}">
      <dsp:nvSpPr>
        <dsp:cNvPr id="0" name=""/>
        <dsp:cNvSpPr/>
      </dsp:nvSpPr>
      <dsp:spPr>
        <a:xfrm>
          <a:off x="35272" y="125940"/>
          <a:ext cx="1011890" cy="1011890"/>
        </a:xfrm>
        <a:prstGeom prst="ellipse">
          <a:avLst/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89766D56-7959-4769-B6BB-275249B56C57}">
      <dsp:nvSpPr>
        <dsp:cNvPr id="0" name=""/>
        <dsp:cNvSpPr/>
      </dsp:nvSpPr>
      <dsp:spPr>
        <a:xfrm>
          <a:off x="233689" y="300529"/>
          <a:ext cx="586896" cy="586896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D333EA8-9F50-498B-9E0B-63971613FDD1}">
      <dsp:nvSpPr>
        <dsp:cNvPr id="0" name=""/>
        <dsp:cNvSpPr/>
      </dsp:nvSpPr>
      <dsp:spPr>
        <a:xfrm>
          <a:off x="1142894" y="91860"/>
          <a:ext cx="2950479" cy="9836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S</a:t>
          </a:r>
          <a:r>
            <a:rPr lang="en-GB" sz="1400" kern="1200" dirty="0"/>
            <a:t> – </a:t>
          </a:r>
          <a:r>
            <a:rPr lang="en-GB" sz="1400" b="1" kern="1200" dirty="0"/>
            <a:t>Scoping </a:t>
          </a:r>
          <a:r>
            <a:rPr lang="en-GB" sz="1400" kern="1200" dirty="0"/>
            <a:t>the presenting situation – clarity re presenting problems, AND resources (</a:t>
          </a:r>
          <a:r>
            <a:rPr lang="en-GB" sz="1400" kern="1200" dirty="0" err="1"/>
            <a:t>inc</a:t>
          </a:r>
          <a:r>
            <a:rPr lang="en-GB" sz="1400" kern="1200" dirty="0"/>
            <a:t> where is / who is ‘home’?)</a:t>
          </a:r>
          <a:endParaRPr lang="en-US" sz="1400" kern="1200" dirty="0"/>
        </a:p>
      </dsp:txBody>
      <dsp:txXfrm>
        <a:off x="1142894" y="91860"/>
        <a:ext cx="2950479" cy="983678"/>
      </dsp:txXfrm>
    </dsp:sp>
    <dsp:sp modelId="{47B91C7D-3885-412A-8B7E-7710C97CA7EC}">
      <dsp:nvSpPr>
        <dsp:cNvPr id="0" name=""/>
        <dsp:cNvSpPr/>
      </dsp:nvSpPr>
      <dsp:spPr>
        <a:xfrm>
          <a:off x="4127757" y="146118"/>
          <a:ext cx="1011890" cy="1011890"/>
        </a:xfrm>
        <a:prstGeom prst="ellipse">
          <a:avLst/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2FFDA2AD-5CAC-41B1-903E-1116AFC6CD14}">
      <dsp:nvSpPr>
        <dsp:cNvPr id="0" name=""/>
        <dsp:cNvSpPr/>
      </dsp:nvSpPr>
      <dsp:spPr>
        <a:xfrm>
          <a:off x="4362026" y="349077"/>
          <a:ext cx="586896" cy="58689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D2E97AD-B0EC-4FD8-8305-4C3613F71C98}">
      <dsp:nvSpPr>
        <dsp:cNvPr id="0" name=""/>
        <dsp:cNvSpPr/>
      </dsp:nvSpPr>
      <dsp:spPr>
        <a:xfrm>
          <a:off x="5251896" y="172386"/>
          <a:ext cx="3446022" cy="10118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T</a:t>
          </a:r>
          <a:r>
            <a:rPr lang="en-GB" sz="1400" kern="1200" dirty="0"/>
            <a:t> – </a:t>
          </a:r>
          <a:r>
            <a:rPr lang="en-GB" sz="1400" b="1" kern="1200" dirty="0"/>
            <a:t>Targets </a:t>
          </a:r>
          <a:r>
            <a:rPr lang="en-GB" sz="1400" kern="1200" dirty="0"/>
            <a:t>identified that key stakeholders (staff, YP, ‘home’) agree on, that are ‘destination’ rather than ‘intervention’ targets, and that are measurable</a:t>
          </a:r>
          <a:endParaRPr lang="en-US" sz="1400" kern="1200" dirty="0"/>
        </a:p>
      </dsp:txBody>
      <dsp:txXfrm>
        <a:off x="5251896" y="172386"/>
        <a:ext cx="3446022" cy="1011890"/>
      </dsp:txXfrm>
    </dsp:sp>
    <dsp:sp modelId="{95A5F345-CF27-4625-BF5D-483D089DE3CC}">
      <dsp:nvSpPr>
        <dsp:cNvPr id="0" name=""/>
        <dsp:cNvSpPr/>
      </dsp:nvSpPr>
      <dsp:spPr>
        <a:xfrm>
          <a:off x="44702" y="1603148"/>
          <a:ext cx="1011890" cy="1011890"/>
        </a:xfrm>
        <a:prstGeom prst="ellipse">
          <a:avLst/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94E23642-9F51-421B-BC2F-898460E810CC}">
      <dsp:nvSpPr>
        <dsp:cNvPr id="0" name=""/>
        <dsp:cNvSpPr/>
      </dsp:nvSpPr>
      <dsp:spPr>
        <a:xfrm>
          <a:off x="251624" y="1818742"/>
          <a:ext cx="586896" cy="586896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42416AE-404F-4957-B06D-70D17D9F9CC4}">
      <dsp:nvSpPr>
        <dsp:cNvPr id="0" name=""/>
        <dsp:cNvSpPr/>
      </dsp:nvSpPr>
      <dsp:spPr>
        <a:xfrm>
          <a:off x="1142894" y="1833849"/>
          <a:ext cx="2950479" cy="10118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A</a:t>
          </a:r>
          <a:r>
            <a:rPr lang="en-GB" sz="1400" kern="1200" dirty="0"/>
            <a:t> – </a:t>
          </a:r>
          <a:r>
            <a:rPr lang="en-GB" sz="1400" b="1" kern="1200" dirty="0"/>
            <a:t>Activators: </a:t>
          </a:r>
          <a:r>
            <a:rPr lang="en-GB" sz="1400" kern="1200" dirty="0"/>
            <a:t>Interventions driven by a </a:t>
          </a:r>
          <a:r>
            <a:rPr lang="en-GB" sz="1400" b="1" kern="1200" dirty="0"/>
            <a:t>multi-factorial/multi-systemic</a:t>
          </a:r>
          <a:r>
            <a:rPr lang="en-GB" sz="1400" kern="1200" dirty="0"/>
            <a:t> </a:t>
          </a:r>
          <a:r>
            <a:rPr lang="en-GB" sz="1400" b="1" kern="1200" dirty="0"/>
            <a:t>formulation </a:t>
          </a:r>
          <a:r>
            <a:rPr lang="en-GB" sz="1400" kern="1200" dirty="0"/>
            <a:t>(not predicated on diagnosis/offence) that identifies the activators for this particular problem for this particular young person/family</a:t>
          </a:r>
          <a:endParaRPr lang="en-US" sz="1400" kern="1200" dirty="0"/>
        </a:p>
      </dsp:txBody>
      <dsp:txXfrm>
        <a:off x="1142894" y="1833849"/>
        <a:ext cx="2950479" cy="1011890"/>
      </dsp:txXfrm>
    </dsp:sp>
    <dsp:sp modelId="{627E84D6-574A-45F7-B8FD-F1A036E5EE09}">
      <dsp:nvSpPr>
        <dsp:cNvPr id="0" name=""/>
        <dsp:cNvSpPr/>
      </dsp:nvSpPr>
      <dsp:spPr>
        <a:xfrm>
          <a:off x="4111678" y="1834557"/>
          <a:ext cx="1011890" cy="1011890"/>
        </a:xfrm>
        <a:prstGeom prst="ellipse">
          <a:avLst/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CEA8930E-C8CB-4F65-B0F9-6D5C7A5CBEC1}">
      <dsp:nvSpPr>
        <dsp:cNvPr id="0" name=""/>
        <dsp:cNvSpPr/>
      </dsp:nvSpPr>
      <dsp:spPr>
        <a:xfrm>
          <a:off x="4325691" y="2056305"/>
          <a:ext cx="586896" cy="586896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AFBABE6-02D1-49DE-9056-1EC32941E7AA}">
      <dsp:nvSpPr>
        <dsp:cNvPr id="0" name=""/>
        <dsp:cNvSpPr/>
      </dsp:nvSpPr>
      <dsp:spPr>
        <a:xfrm>
          <a:off x="5251896" y="1833849"/>
          <a:ext cx="3446022" cy="10118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I</a:t>
          </a:r>
          <a:r>
            <a:rPr lang="en-GB" sz="1400" kern="1200" dirty="0"/>
            <a:t> – </a:t>
          </a:r>
          <a:r>
            <a:rPr lang="en-GB" sz="1400" b="1" kern="1200" dirty="0"/>
            <a:t>Interventions</a:t>
          </a:r>
          <a:r>
            <a:rPr lang="en-GB" sz="1400" kern="1200" dirty="0"/>
            <a:t> aimed at the activators as identified above.  ‘Specialist’ and core interventions tailored to each YP’s risks/needs </a:t>
          </a:r>
          <a:endParaRPr lang="en-US" sz="1400" kern="1200" dirty="0"/>
        </a:p>
      </dsp:txBody>
      <dsp:txXfrm>
        <a:off x="5251896" y="1833849"/>
        <a:ext cx="3446022" cy="1011890"/>
      </dsp:txXfrm>
    </dsp:sp>
    <dsp:sp modelId="{EAF3553F-1A05-4B5D-9AC7-FDC49766C529}">
      <dsp:nvSpPr>
        <dsp:cNvPr id="0" name=""/>
        <dsp:cNvSpPr/>
      </dsp:nvSpPr>
      <dsp:spPr>
        <a:xfrm>
          <a:off x="44702" y="3560537"/>
          <a:ext cx="1011890" cy="1011890"/>
        </a:xfrm>
        <a:prstGeom prst="ellipse">
          <a:avLst/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903F27C6-69AC-431F-B02B-0D5A1D25811E}">
      <dsp:nvSpPr>
        <dsp:cNvPr id="0" name=""/>
        <dsp:cNvSpPr/>
      </dsp:nvSpPr>
      <dsp:spPr>
        <a:xfrm>
          <a:off x="259870" y="3794599"/>
          <a:ext cx="586896" cy="586896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809E662-5BF0-4E69-A0A0-6A7FBAE6EE75}">
      <dsp:nvSpPr>
        <dsp:cNvPr id="0" name=""/>
        <dsp:cNvSpPr/>
      </dsp:nvSpPr>
      <dsp:spPr>
        <a:xfrm>
          <a:off x="1142894" y="3613257"/>
          <a:ext cx="2950479" cy="10118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R </a:t>
          </a:r>
          <a:r>
            <a:rPr lang="en-GB" sz="1400" kern="1200" dirty="0"/>
            <a:t>- </a:t>
          </a:r>
          <a:r>
            <a:rPr lang="en-GB" sz="1400" b="1" kern="1200" dirty="0"/>
            <a:t>Review</a:t>
          </a:r>
          <a:r>
            <a:rPr lang="en-GB" sz="1400" kern="1200" dirty="0"/>
            <a:t> progress towards agreed targets regularly, both in unit and with ‘home’, and revision of  plans if no evidence of progress</a:t>
          </a:r>
          <a:endParaRPr lang="en-US" sz="1200" kern="1200" dirty="0"/>
        </a:p>
      </dsp:txBody>
      <dsp:txXfrm>
        <a:off x="1142894" y="3613257"/>
        <a:ext cx="2950479" cy="1011890"/>
      </dsp:txXfrm>
    </dsp:sp>
    <dsp:sp modelId="{FA481A91-5F49-4BF7-99F3-FBF30E115D26}">
      <dsp:nvSpPr>
        <dsp:cNvPr id="0" name=""/>
        <dsp:cNvSpPr/>
      </dsp:nvSpPr>
      <dsp:spPr>
        <a:xfrm>
          <a:off x="4091876" y="3579389"/>
          <a:ext cx="1011890" cy="1011890"/>
        </a:xfrm>
        <a:prstGeom prst="ellipse">
          <a:avLst/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0177042F-754B-453A-9CFC-5F2D628C7EB1}">
      <dsp:nvSpPr>
        <dsp:cNvPr id="0" name=""/>
        <dsp:cNvSpPr/>
      </dsp:nvSpPr>
      <dsp:spPr>
        <a:xfrm>
          <a:off x="4328449" y="3797351"/>
          <a:ext cx="586896" cy="586896"/>
        </a:xfrm>
        <a:prstGeom prst="rect">
          <a:avLst/>
        </a:prstGeom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7931791-92B7-4E6A-A917-922B420EDF4C}">
      <dsp:nvSpPr>
        <dsp:cNvPr id="0" name=""/>
        <dsp:cNvSpPr/>
      </dsp:nvSpPr>
      <dsp:spPr>
        <a:xfrm>
          <a:off x="5251896" y="3568430"/>
          <a:ext cx="3446022" cy="10118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/>
            <a:t>S - Sustainability</a:t>
          </a:r>
          <a:r>
            <a:rPr lang="en-GB" sz="1400" kern="1200" dirty="0"/>
            <a:t> always in mind, once activators of positive changes identified, main work is how to replicate/sustain these activators. </a:t>
          </a:r>
          <a:endParaRPr lang="en-US" sz="1200" kern="1200" dirty="0"/>
        </a:p>
      </dsp:txBody>
      <dsp:txXfrm>
        <a:off x="5251896" y="3568430"/>
        <a:ext cx="3446022" cy="101189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CircleList">
  <dgm:title val="Icon Circle List"/>
  <dgm:desc val="Use to show non-sequential or grouped chunks of information accompanied by related visuals. Circular shapes can hold an icon or small picture and corresponding text box shows Level 1 text. Works best for icons or small pictures with medium-length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alg type="sp"/>
    <dgm:shape xmlns:r="http://schemas.openxmlformats.org/officeDocument/2006/relationships" r:blip="">
      <dgm:adjLst/>
    </dgm:shape>
    <dgm:presOf/>
    <dgm:choose name="Name0">
      <dgm:if name="Name1" axis="ch" ptType="node" func="cnt" op="lte" val="3">
        <dgm:constrLst>
          <dgm:constr type="w" for="ch" forName="container" refType="w"/>
          <dgm:constr type="h" for="ch" forName="container" refType="h" fact="0.4"/>
        </dgm:constrLst>
      </dgm:if>
      <dgm:else name="Name2">
        <dgm:constrLst>
          <dgm:constr type="w" for="ch" forName="container" refType="w"/>
          <dgm:constr type="h" for="ch" forName="container" refType="h"/>
        </dgm:constrLst>
      </dgm:else>
    </dgm:choose>
    <dgm:ruleLst>
      <dgm:rule type="h" for="ch" forName="container" val="INF" fact="NaN" max="NaN"/>
    </dgm:ruleLst>
    <dgm:layoutNode name="container">
      <dgm:varLst>
        <dgm:dir/>
        <dgm:resizeHandles val="exact"/>
      </dgm:varLst>
      <dgm:choose name="Name3">
        <dgm:if name="Name4" axis="self" func="var" arg="dir" op="equ" val="norm">
          <dgm:alg type="snake">
            <dgm:param type="grDir" val="tL"/>
            <dgm:param type="flowDir" val="row"/>
            <dgm:param type="contDir" val="sameDir"/>
          </dgm:alg>
        </dgm:if>
        <dgm:else name="Name5">
          <dgm:alg type="snake">
            <dgm:param type="grDir" val="tR"/>
            <dgm:param type="flowDir" val="row"/>
            <dgm:param type="contDir" val="sameDi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w" fact="0.28"/>
        <dgm:constr type="w" for="ch" forName="sibTrans" refType="w" refFor="ch" refForName="compNode" fact="0.115"/>
        <dgm:constr type="sp" refType="h" op="equ" fact="0.17"/>
        <dgm:constr type="primFontSz" for="des" ptType="node" op="equ" val="24"/>
        <dgm:constr type="h" for="des" forName="compNode" op="equ"/>
        <dgm:constr type="h" for="des" forName="iconBgRect" op="equ"/>
      </dgm:constrLst>
      <dgm:ruleLst>
        <dgm:rule type="w" for="ch" forName="compNode" val="60" fact="NaN" max="NaN"/>
      </dgm:ruleLst>
      <dgm:forEach name="Name6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 axis="self"/>
          <dgm:constrLst>
            <dgm:constr type="w" for="ch" forName="iconBgRect" refType="w" fact="0.28"/>
            <dgm:constr type="h" for="ch" forName="iconBgRect" refType="w" refFor="ch" refForName="iconBgRect"/>
            <dgm:constr type="t" for="ch" forName="iconBgRect"/>
            <dgm:constr type="l" for="ch" forName="iconBgRect"/>
            <dgm:constr type="w" for="ch" forName="iconRect" refType="w" refFor="ch" refForName="iconBgRect" fact="0.58"/>
            <dgm:constr type="h" for="ch" forName="iconRect" refType="w" refFor="ch" refForName="iconRect"/>
            <dgm:constr type="ctrX" for="ch" forName="iconRect" refType="ctrX" refFor="ch" refForName="iconBgRect"/>
            <dgm:constr type="ctrY" for="ch" forName="iconRect" refType="ctrY" refFor="ch" refForName="iconBgRect"/>
            <dgm:constr type="w" for="ch" forName="spaceRect" refType="w" fact="0.06"/>
            <dgm:constr type="h" for="ch" forName="spaceRect" refType="h" refFor="ch" refForName="iconBgRect"/>
            <dgm:constr type="t" for="ch" forName="spaceRect" refType="t" refFor="ch" refForName="iconBgRect"/>
            <dgm:constr type="l" for="ch" forName="spaceRect" refType="r" refFor="ch" refForName="iconBgRect"/>
            <dgm:constr type="h" for="ch" forName="textRect" refType="h" refFor="ch" refForName="iconBgRect"/>
            <dgm:constr type="t" for="ch" forName="textRect" refType="t" refFor="ch" refForName="iconBgRect"/>
            <dgm:constr type="l" for="ch" forName="textRect" refType="r" refFor="ch" refForName="spaceRect"/>
          </dgm:constrLst>
          <dgm:ruleLst/>
          <dgm:layoutNode name="iconBgRect" styleLbl="bgShp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  <dgm:ruleLst/>
          </dgm:layoutNode>
          <dgm:layoutNode name="iconRect" styleLbl="node1">
            <dgm:alg type="sp"/>
            <dgm:shape xmlns:r="http://schemas.openxmlformats.org/officeDocument/2006/relationships" type="rect" r:blip="" blipPhldr="1">
              <dgm:adjLst/>
            </dgm:shape>
            <dgm:presOf/>
            <dgm:constrLst/>
            <dgm:ruleLst/>
          </dgm:layoutNode>
          <dgm:layoutNode name="spaceRect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textRect" styleLbl="revTx">
            <dgm:varLst>
              <dgm:chMax val="1"/>
              <dgm:chPref val="1"/>
            </dgm:varLst>
            <dgm:choose name="Name7">
              <dgm:if name="Name8" func="var" arg="dir" op="equ" val="norm">
                <dgm:alg type="tx">
                  <dgm:param type="txAnchorVert" val="mid"/>
                  <dgm:param type="parTxLTRAlign" val="l"/>
                  <dgm:param type="shpTxLTRAlignCh" val="l"/>
                  <dgm:param type="parTxRTLAlign" val="l"/>
                  <dgm:param type="shpTxRTLAlignCh" val="l"/>
                </dgm:alg>
              </dgm:if>
              <dgm:else name="Name9">
                <dgm:alg type="tx">
                  <dgm:param type="txAnchorVert" val="mid"/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11" fact="NaN" max="NaN"/>
            </dgm:ruleLst>
          </dgm:layoutNode>
        </dgm:layoutNode>
        <dgm:forEach name="Name10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21582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8971" y="1"/>
            <a:ext cx="2921582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90A331-7ADD-4391-8CA5-606C9BFD26F5}" type="datetimeFigureOut">
              <a:rPr lang="en-GB" smtClean="0"/>
              <a:t>26/02/2021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7317"/>
            <a:ext cx="2921582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NHS Improvemen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8971" y="9377317"/>
            <a:ext cx="2921582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AE16CE-1862-465F-9912-D0001C1A0F9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506748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21582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8971" y="1"/>
            <a:ext cx="2921582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02AE991-F138-4FD8-982E-957F3CA6A0F6}" type="datetimeFigureOut">
              <a:rPr lang="en-GB" smtClean="0"/>
              <a:t>26/02/2021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1700" y="739775"/>
            <a:ext cx="4938713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4212" y="4689515"/>
            <a:ext cx="539369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7"/>
            <a:ext cx="2921582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NHS Improvemen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8971" y="9377317"/>
            <a:ext cx="2921582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90AB7D-FC04-41BF-88F7-E47891A0628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9011056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GB"/>
              <a:t>NHS Improvemen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90AB7D-FC04-41BF-88F7-E47891A06283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50235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1700" y="739775"/>
            <a:ext cx="4938713" cy="3703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HS Improvemen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90AB7D-FC04-41BF-88F7-E47891A0628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61210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ctr"/>
            <a:endParaRPr lang="en-GB" sz="11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HS Improvemen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90AB7D-FC04-41BF-88F7-E47891A0628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68717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gi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3.gi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24728" name="Rectangle 15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logo-a5.gif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48" b="48344"/>
          <a:stretch/>
        </p:blipFill>
        <p:spPr>
          <a:xfrm>
            <a:off x="7999355" y="375335"/>
            <a:ext cx="791256" cy="354869"/>
          </a:xfrm>
          <a:prstGeom prst="rect">
            <a:avLst/>
          </a:prstGeom>
        </p:spPr>
      </p:pic>
      <p:sp>
        <p:nvSpPr>
          <p:cNvPr id="25" name="Title 9"/>
          <p:cNvSpPr>
            <a:spLocks noGrp="1"/>
          </p:cNvSpPr>
          <p:nvPr>
            <p:ph type="title"/>
          </p:nvPr>
        </p:nvSpPr>
        <p:spPr>
          <a:xfrm>
            <a:off x="576268" y="2480566"/>
            <a:ext cx="8135936" cy="2160734"/>
          </a:xfrm>
        </p:spPr>
        <p:txBody>
          <a:bodyPr/>
          <a:lstStyle>
            <a:lvl1pPr>
              <a:defRPr sz="225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6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576268" y="4949721"/>
            <a:ext cx="8135936" cy="991523"/>
          </a:xfrm>
        </p:spPr>
        <p:txBody>
          <a:bodyPr/>
          <a:lstStyle>
            <a:lvl1pPr>
              <a:defRPr sz="21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576268" y="5985383"/>
            <a:ext cx="8135936" cy="361030"/>
          </a:xfrm>
        </p:spPr>
        <p:txBody>
          <a:bodyPr/>
          <a:lstStyle>
            <a:lvl1pPr>
              <a:defRPr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22223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0" imgH="0" progId="TCLayout.ActiveDocument.1">
                  <p:embed/>
                </p:oleObj>
              </mc:Choice>
              <mc:Fallback>
                <p:oleObj name="think-cell Slide" r:id="rId3" imgW="0" imgH="0" progId="TCLayout.ActiveDocument.1">
                  <p:embed/>
                  <p:pic>
                    <p:nvPicPr>
                      <p:cNvPr id="24728" name="Rectangle 15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logo-a5.gif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48" b="48344"/>
          <a:stretch/>
        </p:blipFill>
        <p:spPr>
          <a:xfrm>
            <a:off x="7999355" y="375335"/>
            <a:ext cx="791256" cy="354869"/>
          </a:xfrm>
          <a:prstGeom prst="rect">
            <a:avLst/>
          </a:prstGeom>
        </p:spPr>
      </p:pic>
      <p:sp>
        <p:nvSpPr>
          <p:cNvPr id="25" name="Title 9"/>
          <p:cNvSpPr>
            <a:spLocks noGrp="1"/>
          </p:cNvSpPr>
          <p:nvPr>
            <p:ph type="title"/>
          </p:nvPr>
        </p:nvSpPr>
        <p:spPr>
          <a:xfrm>
            <a:off x="576268" y="2480566"/>
            <a:ext cx="8135936" cy="2160734"/>
          </a:xfrm>
        </p:spPr>
        <p:txBody>
          <a:bodyPr/>
          <a:lstStyle>
            <a:lvl1pPr>
              <a:defRPr sz="225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6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576268" y="4949721"/>
            <a:ext cx="8135936" cy="991523"/>
          </a:xfrm>
        </p:spPr>
        <p:txBody>
          <a:bodyPr/>
          <a:lstStyle>
            <a:lvl1pPr>
              <a:defRPr sz="21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576268" y="5985383"/>
            <a:ext cx="8135936" cy="361030"/>
          </a:xfrm>
        </p:spPr>
        <p:txBody>
          <a:bodyPr/>
          <a:lstStyle>
            <a:lvl1pPr>
              <a:defRPr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/>
              <a:t>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4924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81" y="1597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1" y="1597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4975" y="163513"/>
            <a:ext cx="7726347" cy="8318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4990" y="1509714"/>
            <a:ext cx="8274051" cy="46132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434975" y="6293224"/>
            <a:ext cx="8274066" cy="304128"/>
          </a:xfrm>
          <a:prstGeom prst="rect">
            <a:avLst/>
          </a:prstGeo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750" b="0"/>
            </a:lvl1pPr>
            <a:lvl2pPr marL="270266" indent="-138110">
              <a:buFont typeface="Arial" panose="020B0604020202020204" pitchFamily="34" charset="0"/>
              <a:buChar char="•"/>
              <a:defRPr sz="1050"/>
            </a:lvl2pPr>
            <a:lvl3pPr marL="540530" indent="-208355">
              <a:buFont typeface="Courier New" panose="02070309020205020404" pitchFamily="49" charset="0"/>
              <a:buChar char="o"/>
              <a:defRPr sz="1050" baseline="0"/>
            </a:lvl3pPr>
          </a:lstStyle>
          <a:p>
            <a:pPr lvl="0"/>
            <a:r>
              <a:rPr lang="en-US" dirty="0"/>
              <a:t>Click to add notes or sources</a:t>
            </a:r>
          </a:p>
        </p:txBody>
      </p:sp>
    </p:spTree>
    <p:extLst>
      <p:ext uri="{BB962C8B-B14F-4D97-AF65-F5344CB8AC3E}">
        <p14:creationId xmlns:p14="http://schemas.microsoft.com/office/powerpoint/2010/main" val="27588949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81" y="1597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1" y="1597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4975" y="163513"/>
            <a:ext cx="7726347" cy="8318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4990" y="1509714"/>
            <a:ext cx="8274051" cy="46132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434975" y="6293224"/>
            <a:ext cx="8274066" cy="304128"/>
          </a:xfrm>
          <a:prstGeom prst="rect">
            <a:avLst/>
          </a:prstGeo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750" b="0"/>
            </a:lvl1pPr>
            <a:lvl2pPr marL="270266" indent="-138110">
              <a:buFont typeface="Arial" panose="020B0604020202020204" pitchFamily="34" charset="0"/>
              <a:buChar char="•"/>
              <a:defRPr sz="1050"/>
            </a:lvl2pPr>
            <a:lvl3pPr marL="540530" indent="-208355">
              <a:buFont typeface="Courier New" panose="02070309020205020404" pitchFamily="49" charset="0"/>
              <a:buChar char="o"/>
              <a:defRPr sz="1050" baseline="0"/>
            </a:lvl3pPr>
          </a:lstStyle>
          <a:p>
            <a:pPr lvl="0"/>
            <a:r>
              <a:rPr lang="en-US" dirty="0"/>
              <a:t>Click to add notes or sources</a:t>
            </a:r>
          </a:p>
        </p:txBody>
      </p:sp>
      <p:sp>
        <p:nvSpPr>
          <p:cNvPr id="7" name="Text Placeholder 36"/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1976013" y="5545878"/>
            <a:ext cx="5191974" cy="669027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91440" rIns="108000" bIns="91440" numCol="1" rtlCol="0" anchor="ctr" anchorCtr="0" compatLnSpc="1">
            <a:prstTxWarp prst="textNoShape">
              <a:avLst/>
            </a:prstTxWarp>
            <a:noAutofit/>
          </a:bodyPr>
          <a:lstStyle>
            <a:lvl1pPr algn="ctr">
              <a:defRPr kumimoji="0" lang="en-US" i="0" u="none" strike="noStrike" kern="1200" cap="none" normalizeH="0" baseline="0" smtClean="0">
                <a:solidFill>
                  <a:schemeClr val="bg1"/>
                </a:solidFill>
                <a:effectLst/>
              </a:defRPr>
            </a:lvl1pPr>
            <a:lvl2pPr>
              <a:defRPr lang="en-US" sz="1050" kern="1200" smtClean="0">
                <a:ea typeface="+mn-ea"/>
              </a:defRPr>
            </a:lvl2pPr>
            <a:lvl3pPr>
              <a:defRPr lang="en-US" sz="1050" kern="1200" smtClean="0">
                <a:ea typeface="+mn-ea"/>
              </a:defRPr>
            </a:lvl3pPr>
            <a:lvl4pPr>
              <a:defRPr lang="en-US" sz="1050" kern="1200" smtClean="0">
                <a:ea typeface="+mn-ea"/>
              </a:defRPr>
            </a:lvl4pPr>
            <a:lvl5pPr>
              <a:defRPr lang="en-GB" sz="1050" kern="1200">
                <a:ea typeface="+mn-ea"/>
              </a:defRPr>
            </a:lvl5pPr>
          </a:lstStyle>
          <a:p>
            <a:pPr marL="0" marR="0" lvl="0" indent="0" algn="ctr" latinLnBrk="0"/>
            <a:r>
              <a:rPr lang="en-US" dirty="0"/>
              <a:t>Click to edit text. Use this ‘takeaway box’ to </a:t>
            </a:r>
            <a:r>
              <a:rPr lang="en-US" dirty="0" err="1"/>
              <a:t>summarise</a:t>
            </a:r>
            <a:r>
              <a:rPr lang="en-US" dirty="0"/>
              <a:t> the key message of the slid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35222" y="995363"/>
            <a:ext cx="7725508" cy="309562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>
            <a:lvl1pPr>
              <a:defRPr lang="en-US" sz="1200" b="0" kern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>
              <a:defRPr lang="en-US" sz="1200" b="0" kern="1200" dirty="0" smtClean="0">
                <a:solidFill>
                  <a:schemeClr val="tx2"/>
                </a:solidFill>
                <a:latin typeface="Trebuchet MS" pitchFamily="34" charset="0"/>
                <a:ea typeface="+mn-ea"/>
                <a:cs typeface="Arial" charset="0"/>
              </a:defRPr>
            </a:lvl2pPr>
            <a:lvl3pPr>
              <a:defRPr lang="en-US" sz="1200" b="0" kern="1200" dirty="0" smtClean="0">
                <a:solidFill>
                  <a:schemeClr val="tx2"/>
                </a:solidFill>
                <a:latin typeface="Trebuchet MS" pitchFamily="34" charset="0"/>
                <a:ea typeface="+mn-ea"/>
                <a:cs typeface="Arial" charset="0"/>
              </a:defRPr>
            </a:lvl3pPr>
            <a:lvl4pPr>
              <a:defRPr lang="en-US" sz="1200" b="0" kern="1200" dirty="0" smtClean="0">
                <a:solidFill>
                  <a:schemeClr val="tx2"/>
                </a:solidFill>
                <a:latin typeface="Trebuchet MS" pitchFamily="34" charset="0"/>
                <a:ea typeface="+mn-ea"/>
                <a:cs typeface="Arial" charset="0"/>
              </a:defRPr>
            </a:lvl4pPr>
            <a:lvl5pPr>
              <a:defRPr lang="en-GB" sz="1200" b="0" kern="1200" dirty="0">
                <a:solidFill>
                  <a:schemeClr val="tx2"/>
                </a:solidFill>
                <a:latin typeface="Trebuchet MS" pitchFamily="34" charset="0"/>
                <a:ea typeface="+mn-ea"/>
                <a:cs typeface="Arial" charset="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86512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ue ch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4975" y="161366"/>
            <a:ext cx="7726347" cy="8339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>
            <a:lvl1pPr>
              <a:defRPr lang="en-GB" dirty="0"/>
            </a:lvl1pPr>
          </a:lstStyle>
          <a:p>
            <a:pPr lvl="0"/>
            <a:r>
              <a:rPr lang="en-US" dirty="0"/>
              <a:t>Narrative title style (no more than two lines long)</a:t>
            </a:r>
            <a:endParaRPr lang="en-GB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>
          <a:xfrm>
            <a:off x="434977" y="1568495"/>
            <a:ext cx="2817145" cy="529246"/>
          </a:xfrm>
          <a:prstGeom prst="homePlate">
            <a:avLst>
              <a:gd name="adj" fmla="val 37104"/>
            </a:avLst>
          </a:prstGeom>
          <a:solidFill>
            <a:schemeClr val="accent4"/>
          </a:solidFill>
          <a:ln>
            <a:noFill/>
          </a:ln>
        </p:spPr>
        <p:txBody>
          <a:bodyPr lIns="72000" rIns="72000" anchor="ctr"/>
          <a:lstStyle>
            <a:lvl1pPr marL="0" indent="0" algn="ctr">
              <a:spcBef>
                <a:spcPts val="0"/>
              </a:spcBef>
              <a:buNone/>
              <a:defRPr sz="1200" b="1" u="none">
                <a:solidFill>
                  <a:schemeClr val="bg1"/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434976" y="2193263"/>
            <a:ext cx="2593716" cy="356208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50" b="1"/>
            </a:lvl1pPr>
            <a:lvl2pPr marL="270266" indent="-138110">
              <a:buFont typeface="Arial" panose="020B0604020202020204" pitchFamily="34" charset="0"/>
              <a:buChar char="•"/>
              <a:defRPr sz="1050"/>
            </a:lvl2pPr>
            <a:lvl3pPr marL="540530" indent="-208355">
              <a:buFont typeface="Courier New" panose="02070309020205020404" pitchFamily="49" charset="0"/>
              <a:buChar char="o"/>
              <a:defRPr sz="1050" baseline="0"/>
            </a:lvl3pPr>
          </a:lstStyle>
          <a:p>
            <a:pPr lvl="0"/>
            <a:r>
              <a:rPr lang="en-US" dirty="0"/>
              <a:t>Text box (click to edit content)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20"/>
          </p:nvPr>
        </p:nvSpPr>
        <p:spPr>
          <a:xfrm>
            <a:off x="3125014" y="1568495"/>
            <a:ext cx="2817145" cy="529246"/>
          </a:xfrm>
          <a:prstGeom prst="chevron">
            <a:avLst>
              <a:gd name="adj" fmla="val 37296"/>
            </a:avLst>
          </a:prstGeom>
          <a:solidFill>
            <a:schemeClr val="accent4"/>
          </a:solidFill>
          <a:ln>
            <a:noFill/>
          </a:ln>
        </p:spPr>
        <p:txBody>
          <a:bodyPr lIns="72000" rIns="72000" anchor="ctr"/>
          <a:lstStyle>
            <a:lvl1pPr marL="0" indent="0" algn="ctr">
              <a:spcBef>
                <a:spcPts val="0"/>
              </a:spcBef>
              <a:buNone/>
              <a:defRPr sz="1200" b="1" u="none">
                <a:solidFill>
                  <a:schemeClr val="bg1"/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21"/>
          </p:nvPr>
        </p:nvSpPr>
        <p:spPr>
          <a:xfrm>
            <a:off x="5818563" y="1568495"/>
            <a:ext cx="2817145" cy="529246"/>
          </a:xfrm>
          <a:prstGeom prst="chevron">
            <a:avLst>
              <a:gd name="adj" fmla="val 37296"/>
            </a:avLst>
          </a:prstGeom>
          <a:solidFill>
            <a:schemeClr val="accent4"/>
          </a:solidFill>
          <a:ln>
            <a:noFill/>
          </a:ln>
        </p:spPr>
        <p:txBody>
          <a:bodyPr lIns="72000" rIns="72000" anchor="ctr"/>
          <a:lstStyle>
            <a:lvl1pPr marL="0" indent="0" algn="ctr">
              <a:spcBef>
                <a:spcPts val="0"/>
              </a:spcBef>
              <a:buNone/>
              <a:defRPr sz="1200" b="1" u="none">
                <a:solidFill>
                  <a:schemeClr val="bg1"/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6" name="Text Placeholder 20"/>
          <p:cNvSpPr>
            <a:spLocks noGrp="1"/>
          </p:cNvSpPr>
          <p:nvPr>
            <p:ph type="body" sz="quarter" idx="22" hasCustomPrompt="1"/>
          </p:nvPr>
        </p:nvSpPr>
        <p:spPr>
          <a:xfrm>
            <a:off x="3149837" y="2193263"/>
            <a:ext cx="2593716" cy="356208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50" b="1"/>
            </a:lvl1pPr>
            <a:lvl2pPr marL="270266" indent="-138110">
              <a:buFont typeface="Arial" panose="020B0604020202020204" pitchFamily="34" charset="0"/>
              <a:buChar char="•"/>
              <a:defRPr sz="1050"/>
            </a:lvl2pPr>
            <a:lvl3pPr marL="540530" indent="-208355">
              <a:buFont typeface="Courier New" panose="02070309020205020404" pitchFamily="49" charset="0"/>
              <a:buChar char="o"/>
              <a:defRPr sz="1050" baseline="0"/>
            </a:lvl3pPr>
          </a:lstStyle>
          <a:p>
            <a:pPr lvl="0"/>
            <a:r>
              <a:rPr lang="en-US" dirty="0"/>
              <a:t>Text box (click to edit content)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  <p:sp>
        <p:nvSpPr>
          <p:cNvPr id="17" name="Text Placeholder 20"/>
          <p:cNvSpPr>
            <a:spLocks noGrp="1"/>
          </p:cNvSpPr>
          <p:nvPr>
            <p:ph type="body" sz="quarter" idx="23" hasCustomPrompt="1"/>
          </p:nvPr>
        </p:nvSpPr>
        <p:spPr>
          <a:xfrm>
            <a:off x="5852286" y="2193263"/>
            <a:ext cx="2593716" cy="356208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50" b="1"/>
            </a:lvl1pPr>
            <a:lvl2pPr marL="270266" indent="-138110">
              <a:buFont typeface="Arial" panose="020B0604020202020204" pitchFamily="34" charset="0"/>
              <a:buChar char="•"/>
              <a:defRPr sz="1050"/>
            </a:lvl2pPr>
            <a:lvl3pPr marL="540530" indent="-208355">
              <a:buFont typeface="Courier New" panose="02070309020205020404" pitchFamily="49" charset="0"/>
              <a:buChar char="o"/>
              <a:defRPr sz="1050" baseline="0"/>
            </a:lvl3pPr>
          </a:lstStyle>
          <a:p>
            <a:pPr lvl="0"/>
            <a:r>
              <a:rPr lang="en-US" dirty="0"/>
              <a:t>Text box (click to edit content)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</p:spTree>
    <p:extLst>
      <p:ext uri="{BB962C8B-B14F-4D97-AF65-F5344CB8AC3E}">
        <p14:creationId xmlns:p14="http://schemas.microsoft.com/office/powerpoint/2010/main" val="7918326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4975" y="161366"/>
            <a:ext cx="7726347" cy="8339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>
            <a:lvl1pPr>
              <a:defRPr lang="en-GB" dirty="0"/>
            </a:lvl1pPr>
          </a:lstStyle>
          <a:p>
            <a:pPr lvl="0"/>
            <a:r>
              <a:rPr lang="en-US" dirty="0"/>
              <a:t>Narrative title style (no more than two lines long)</a:t>
            </a:r>
            <a:endParaRPr lang="en-GB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4952655" y="2286005"/>
            <a:ext cx="3574848" cy="3998683"/>
          </a:xfrm>
          <a:prstGeom prst="rect">
            <a:avLst/>
          </a:prstGeom>
        </p:spPr>
        <p:txBody>
          <a:bodyPr lIns="72000"/>
          <a:lstStyle>
            <a:lvl1pPr marL="0" indent="0">
              <a:buFont typeface="Arial" panose="020B0604020202020204" pitchFamily="34" charset="0"/>
              <a:buNone/>
              <a:defRPr sz="1050" b="1"/>
            </a:lvl1pPr>
            <a:lvl2pPr marL="270266" indent="-138110">
              <a:buFont typeface="Arial" panose="020B0604020202020204" pitchFamily="34" charset="0"/>
              <a:buChar char="•"/>
              <a:defRPr sz="1050"/>
            </a:lvl2pPr>
            <a:lvl3pPr marL="540530" indent="-208355">
              <a:buFont typeface="Courier New" panose="02070309020205020404" pitchFamily="49" charset="0"/>
              <a:buChar char="o"/>
              <a:defRPr sz="1050" baseline="0"/>
            </a:lvl3pPr>
          </a:lstStyle>
          <a:p>
            <a:pPr lvl="0"/>
            <a:r>
              <a:rPr lang="en-US" dirty="0"/>
              <a:t>Text box (click to edit content)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34974" y="1568498"/>
            <a:ext cx="3655386" cy="56958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rtlCol="0" anchor="b" anchorCtr="0">
            <a:noAutofit/>
          </a:bodyPr>
          <a:lstStyle>
            <a:lvl1pPr algn="ctr">
              <a:defRPr lang="en-US" kern="1200" dirty="0" smtClean="0">
                <a:solidFill>
                  <a:srgbClr val="000000"/>
                </a:solidFill>
              </a:defRPr>
            </a:lvl1pPr>
          </a:lstStyle>
          <a:p>
            <a:pPr lvl="0" algn="ctr"/>
            <a:r>
              <a:rPr lang="en-US" dirty="0"/>
              <a:t>Click to edit Box 1</a:t>
            </a:r>
          </a:p>
        </p:txBody>
      </p:sp>
      <p:sp>
        <p:nvSpPr>
          <p:cNvPr id="1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434978" y="2286005"/>
            <a:ext cx="3655385" cy="3998683"/>
          </a:xfrm>
          <a:prstGeom prst="rect">
            <a:avLst/>
          </a:prstGeom>
        </p:spPr>
        <p:txBody>
          <a:bodyPr lIns="72000"/>
          <a:lstStyle>
            <a:lvl1pPr marL="0" indent="0">
              <a:buFont typeface="Arial" panose="020B0604020202020204" pitchFamily="34" charset="0"/>
              <a:buNone/>
              <a:defRPr sz="1050" b="1"/>
            </a:lvl1pPr>
            <a:lvl2pPr marL="270266" indent="-138110">
              <a:buFont typeface="Arial" panose="020B0604020202020204" pitchFamily="34" charset="0"/>
              <a:buChar char="•"/>
              <a:defRPr sz="1050"/>
            </a:lvl2pPr>
            <a:lvl3pPr marL="540530" indent="-208355">
              <a:buFont typeface="Courier New" panose="02070309020205020404" pitchFamily="49" charset="0"/>
              <a:buChar char="o"/>
              <a:defRPr sz="1050" baseline="0"/>
            </a:lvl3pPr>
          </a:lstStyle>
          <a:p>
            <a:pPr lvl="0"/>
            <a:r>
              <a:rPr lang="en-US" dirty="0"/>
              <a:t>Text box (click to edit content)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4952655" y="1568498"/>
            <a:ext cx="3574848" cy="56958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vert="horz" wrap="square" lIns="0" tIns="91440" rIns="0" bIns="91440" numCol="1" rtlCol="0" anchor="b" anchorCtr="0" compatLnSpc="1">
            <a:prstTxWarp prst="textNoShape">
              <a:avLst/>
            </a:prstTxWarp>
            <a:noAutofit/>
          </a:bodyPr>
          <a:lstStyle>
            <a:lvl1pPr algn="ctr">
              <a:defRPr lang="en-US" kern="1200" dirty="0" smtClean="0">
                <a:solidFill>
                  <a:srgbClr val="000000"/>
                </a:solidFill>
              </a:defRPr>
            </a:lvl1pPr>
          </a:lstStyle>
          <a:p>
            <a:pPr lvl="0" algn="ctr"/>
            <a:r>
              <a:rPr lang="en-US" dirty="0"/>
              <a:t>Click to edit Box 2</a:t>
            </a:r>
          </a:p>
        </p:txBody>
      </p:sp>
    </p:spTree>
    <p:extLst>
      <p:ext uri="{BB962C8B-B14F-4D97-AF65-F5344CB8AC3E}">
        <p14:creationId xmlns:p14="http://schemas.microsoft.com/office/powerpoint/2010/main" val="33467142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81" y="1597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1" y="1597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Text Placeholder 10"/>
          <p:cNvSpPr>
            <a:spLocks noGrp="1"/>
          </p:cNvSpPr>
          <p:nvPr>
            <p:ph type="body" idx="1"/>
          </p:nvPr>
        </p:nvSpPr>
        <p:spPr>
          <a:xfrm>
            <a:off x="434975" y="1568495"/>
            <a:ext cx="3634158" cy="529246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Box</a:t>
            </a:r>
          </a:p>
        </p:txBody>
      </p:sp>
      <p:sp>
        <p:nvSpPr>
          <p:cNvPr id="57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434975" y="2097741"/>
            <a:ext cx="3634158" cy="1614466"/>
          </a:xfrm>
          <a:solidFill>
            <a:schemeClr val="bg1">
              <a:lumMod val="95000"/>
            </a:schemeClr>
          </a:solidFill>
        </p:spPr>
        <p:txBody>
          <a:bodyPr lIns="72000" tIns="90000" rIns="72000" bIns="72000"/>
          <a:lstStyle>
            <a:lvl1pPr>
              <a:defRPr sz="1050"/>
            </a:lvl1pPr>
          </a:lstStyle>
          <a:p>
            <a:r>
              <a:rPr lang="en-GB" dirty="0"/>
              <a:t>Box</a:t>
            </a:r>
          </a:p>
        </p:txBody>
      </p:sp>
      <p:sp>
        <p:nvSpPr>
          <p:cNvPr id="58" name="Title 1"/>
          <p:cNvSpPr>
            <a:spLocks noGrp="1"/>
          </p:cNvSpPr>
          <p:nvPr>
            <p:ph type="title" hasCustomPrompt="1"/>
          </p:nvPr>
        </p:nvSpPr>
        <p:spPr>
          <a:xfrm>
            <a:off x="434975" y="161366"/>
            <a:ext cx="7726347" cy="8339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>
            <a:lvl1pPr>
              <a:defRPr lang="en-GB" dirty="0"/>
            </a:lvl1pPr>
          </a:lstStyle>
          <a:p>
            <a:pPr lvl="0"/>
            <a:r>
              <a:rPr lang="en-US" dirty="0"/>
              <a:t>Narrative title style (no more than two lines long)</a:t>
            </a:r>
            <a:endParaRPr lang="en-GB" dirty="0"/>
          </a:p>
        </p:txBody>
      </p:sp>
      <p:sp>
        <p:nvSpPr>
          <p:cNvPr id="60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434975" y="6293224"/>
            <a:ext cx="8274066" cy="304128"/>
          </a:xfrm>
          <a:prstGeom prst="rect">
            <a:avLst/>
          </a:prstGeo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750" b="0"/>
            </a:lvl1pPr>
            <a:lvl2pPr marL="270266" indent="-138110">
              <a:buFont typeface="Arial" panose="020B0604020202020204" pitchFamily="34" charset="0"/>
              <a:buChar char="•"/>
              <a:defRPr sz="1050"/>
            </a:lvl2pPr>
            <a:lvl3pPr marL="540530" indent="-208355">
              <a:buFont typeface="Courier New" panose="02070309020205020404" pitchFamily="49" charset="0"/>
              <a:buChar char="o"/>
              <a:defRPr sz="1050" baseline="0"/>
            </a:lvl3pPr>
          </a:lstStyle>
          <a:p>
            <a:pPr lvl="0"/>
            <a:r>
              <a:rPr lang="en-US" dirty="0"/>
              <a:t>Click to add notes or sources</a:t>
            </a:r>
          </a:p>
        </p:txBody>
      </p:sp>
      <p:sp>
        <p:nvSpPr>
          <p:cNvPr id="61" name="Text Placeholder 10"/>
          <p:cNvSpPr>
            <a:spLocks noGrp="1"/>
          </p:cNvSpPr>
          <p:nvPr>
            <p:ph type="body" idx="15"/>
          </p:nvPr>
        </p:nvSpPr>
        <p:spPr>
          <a:xfrm>
            <a:off x="4791821" y="1568495"/>
            <a:ext cx="3634158" cy="529246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Box</a:t>
            </a:r>
          </a:p>
        </p:txBody>
      </p:sp>
      <p:sp>
        <p:nvSpPr>
          <p:cNvPr id="62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791821" y="2097741"/>
            <a:ext cx="3634158" cy="1614466"/>
          </a:xfrm>
          <a:solidFill>
            <a:schemeClr val="bg1">
              <a:lumMod val="95000"/>
            </a:schemeClr>
          </a:solidFill>
        </p:spPr>
        <p:txBody>
          <a:bodyPr lIns="72000" tIns="90000" rIns="72000" bIns="72000"/>
          <a:lstStyle>
            <a:lvl1pPr>
              <a:defRPr sz="1050"/>
            </a:lvl1pPr>
          </a:lstStyle>
          <a:p>
            <a:r>
              <a:rPr lang="en-GB" dirty="0"/>
              <a:t>Box</a:t>
            </a:r>
          </a:p>
        </p:txBody>
      </p:sp>
      <p:sp>
        <p:nvSpPr>
          <p:cNvPr id="63" name="Text Placeholder 10"/>
          <p:cNvSpPr>
            <a:spLocks noGrp="1"/>
          </p:cNvSpPr>
          <p:nvPr>
            <p:ph type="body" idx="17"/>
          </p:nvPr>
        </p:nvSpPr>
        <p:spPr>
          <a:xfrm>
            <a:off x="434975" y="3962071"/>
            <a:ext cx="3634158" cy="529246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Box</a:t>
            </a:r>
          </a:p>
        </p:txBody>
      </p:sp>
      <p:sp>
        <p:nvSpPr>
          <p:cNvPr id="64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434975" y="4491317"/>
            <a:ext cx="3634158" cy="1614466"/>
          </a:xfrm>
          <a:solidFill>
            <a:schemeClr val="bg1">
              <a:lumMod val="95000"/>
            </a:schemeClr>
          </a:solidFill>
        </p:spPr>
        <p:txBody>
          <a:bodyPr lIns="72000" tIns="90000" rIns="72000" bIns="72000"/>
          <a:lstStyle>
            <a:lvl1pPr>
              <a:defRPr sz="1050"/>
            </a:lvl1pPr>
          </a:lstStyle>
          <a:p>
            <a:r>
              <a:rPr lang="en-GB" dirty="0"/>
              <a:t>Box</a:t>
            </a:r>
          </a:p>
        </p:txBody>
      </p:sp>
      <p:sp>
        <p:nvSpPr>
          <p:cNvPr id="65" name="Text Placeholder 10"/>
          <p:cNvSpPr>
            <a:spLocks noGrp="1"/>
          </p:cNvSpPr>
          <p:nvPr>
            <p:ph type="body" idx="19"/>
          </p:nvPr>
        </p:nvSpPr>
        <p:spPr>
          <a:xfrm>
            <a:off x="4791821" y="3962071"/>
            <a:ext cx="3634158" cy="529246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Box</a:t>
            </a:r>
          </a:p>
        </p:txBody>
      </p:sp>
      <p:sp>
        <p:nvSpPr>
          <p:cNvPr id="66" name="Text Placeholder 12"/>
          <p:cNvSpPr>
            <a:spLocks noGrp="1"/>
          </p:cNvSpPr>
          <p:nvPr>
            <p:ph type="body" sz="quarter" idx="20"/>
          </p:nvPr>
        </p:nvSpPr>
        <p:spPr>
          <a:xfrm>
            <a:off x="4791821" y="4491317"/>
            <a:ext cx="3634158" cy="1614466"/>
          </a:xfrm>
          <a:solidFill>
            <a:schemeClr val="bg1">
              <a:lumMod val="95000"/>
            </a:schemeClr>
          </a:solidFill>
        </p:spPr>
        <p:txBody>
          <a:bodyPr lIns="72000" tIns="90000" rIns="72000" bIns="72000"/>
          <a:lstStyle>
            <a:lvl1pPr>
              <a:defRPr sz="1050"/>
            </a:lvl1pPr>
          </a:lstStyle>
          <a:p>
            <a:r>
              <a:rPr lang="en-GB" dirty="0"/>
              <a:t>Box</a:t>
            </a:r>
          </a:p>
        </p:txBody>
      </p:sp>
    </p:spTree>
    <p:extLst>
      <p:ext uri="{BB962C8B-B14F-4D97-AF65-F5344CB8AC3E}">
        <p14:creationId xmlns:p14="http://schemas.microsoft.com/office/powerpoint/2010/main" val="3381582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81" y="1597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1" y="1597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5222" y="2437800"/>
            <a:ext cx="7725508" cy="644525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ctr" anchorCtr="0" compatLnSpc="1">
            <a:prstTxWarp prst="textNoShape">
              <a:avLst/>
            </a:prstTxWarp>
          </a:bodyPr>
          <a:lstStyle>
            <a:lvl1pPr>
              <a:defRPr lang="en-US" sz="1500" smtClean="0">
                <a:solidFill>
                  <a:schemeClr val="bg1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2pPr>
            <a:lvl3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3pPr>
            <a:lvl4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4pPr>
            <a:lvl5pPr>
              <a:defRPr lang="en-GB" sz="18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Section 2</a:t>
            </a:r>
            <a:endParaRPr lang="en-GB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35222" y="3166603"/>
            <a:ext cx="7725508" cy="644525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ctr" anchorCtr="0" compatLnSpc="1">
            <a:prstTxWarp prst="textNoShape">
              <a:avLst/>
            </a:prstTxWarp>
          </a:bodyPr>
          <a:lstStyle>
            <a:lvl1pPr>
              <a:defRPr lang="en-US" sz="1500" smtClean="0">
                <a:solidFill>
                  <a:schemeClr val="bg1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2pPr>
            <a:lvl3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3pPr>
            <a:lvl4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4pPr>
            <a:lvl5pPr>
              <a:defRPr lang="en-GB" sz="18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Section 3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5222" y="3895405"/>
            <a:ext cx="7725508" cy="644525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ctr" anchorCtr="0" compatLnSpc="1">
            <a:prstTxWarp prst="textNoShape">
              <a:avLst/>
            </a:prstTxWarp>
          </a:bodyPr>
          <a:lstStyle>
            <a:lvl1pPr>
              <a:defRPr lang="en-US" sz="150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2pPr>
            <a:lvl3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3pPr>
            <a:lvl4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4pPr>
            <a:lvl5pPr>
              <a:defRPr lang="en-GB" sz="18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This section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35222" y="4624207"/>
            <a:ext cx="7725508" cy="644525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ctr" anchorCtr="0" compatLnSpc="1">
            <a:prstTxWarp prst="textNoShape">
              <a:avLst/>
            </a:prstTxWarp>
          </a:bodyPr>
          <a:lstStyle>
            <a:lvl1pPr>
              <a:defRPr lang="en-US" sz="1500" smtClean="0">
                <a:solidFill>
                  <a:schemeClr val="bg1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2pPr>
            <a:lvl3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3pPr>
            <a:lvl4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4pPr>
            <a:lvl5pPr>
              <a:defRPr lang="en-GB" sz="18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Section 5</a:t>
            </a:r>
            <a:endParaRPr lang="en-GB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35222" y="1708995"/>
            <a:ext cx="7725508" cy="644525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ctr" anchorCtr="0" compatLnSpc="1">
            <a:prstTxWarp prst="textNoShape">
              <a:avLst/>
            </a:prstTxWarp>
          </a:bodyPr>
          <a:lstStyle>
            <a:lvl1pPr>
              <a:defRPr lang="en-US" sz="1500" baseline="0" smtClean="0">
                <a:solidFill>
                  <a:schemeClr val="bg1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2pPr>
            <a:lvl3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3pPr>
            <a:lvl4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4pPr>
            <a:lvl5pPr>
              <a:defRPr lang="en-GB" sz="18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Section 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72037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81" y="1597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1" y="1597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4975" y="163513"/>
            <a:ext cx="7726347" cy="8318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57251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81" y="1597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1" y="1597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128111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9"/>
          <p:cNvSpPr>
            <a:spLocks noGrp="1"/>
          </p:cNvSpPr>
          <p:nvPr>
            <p:ph type="title" hasCustomPrompt="1"/>
          </p:nvPr>
        </p:nvSpPr>
        <p:spPr>
          <a:xfrm>
            <a:off x="449539" y="3660487"/>
            <a:ext cx="7886700" cy="689541"/>
          </a:xfrm>
          <a:prstGeom prst="rect">
            <a:avLst/>
          </a:prstGeom>
        </p:spPr>
        <p:txBody>
          <a:bodyPr/>
          <a:lstStyle>
            <a:lvl1pPr>
              <a:defRPr sz="3600" baseline="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9539" y="4364955"/>
            <a:ext cx="6858000" cy="47324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 b="0" i="0" baseline="0">
                <a:solidFill>
                  <a:srgbClr val="005EB8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Date</a:t>
            </a:r>
          </a:p>
        </p:txBody>
      </p:sp>
      <p:pic>
        <p:nvPicPr>
          <p:cNvPr id="9" name="Picture 8" descr="A picture containing clipart&#10;&#10;Description generated with very high confidence">
            <a:extLst>
              <a:ext uri="{FF2B5EF4-FFF2-40B4-BE49-F238E27FC236}">
                <a16:creationId xmlns:a16="http://schemas.microsoft.com/office/drawing/2014/main" id="{97959884-1B4F-43C5-92F7-E44DF373C9B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696159" y="293024"/>
            <a:ext cx="1080655" cy="436418"/>
          </a:xfrm>
          <a:prstGeom prst="rect">
            <a:avLst/>
          </a:prstGeom>
        </p:spPr>
      </p:pic>
      <p:pic>
        <p:nvPicPr>
          <p:cNvPr id="5" name="Content Placeholder 16">
            <a:extLst>
              <a:ext uri="{FF2B5EF4-FFF2-40B4-BE49-F238E27FC236}">
                <a16:creationId xmlns:a16="http://schemas.microsoft.com/office/drawing/2014/main" id="{5FDDE1C8-218E-4901-92BB-E0ADB27DCE4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345236"/>
            <a:ext cx="9144000" cy="309465"/>
          </a:xfrm>
          <a:prstGeom prst="rect">
            <a:avLst/>
          </a:prstGeom>
        </p:spPr>
      </p:pic>
      <p:sp>
        <p:nvSpPr>
          <p:cNvPr id="6" name="Text Box 4">
            <a:extLst>
              <a:ext uri="{FF2B5EF4-FFF2-40B4-BE49-F238E27FC236}">
                <a16:creationId xmlns:a16="http://schemas.microsoft.com/office/drawing/2014/main" id="{733EB1D2-9EB5-4BBA-9043-DD9322866AB7}"/>
              </a:ext>
            </a:extLst>
          </p:cNvPr>
          <p:cNvSpPr txBox="1"/>
          <p:nvPr userDrawn="1"/>
        </p:nvSpPr>
        <p:spPr>
          <a:xfrm>
            <a:off x="2575560" y="5792942"/>
            <a:ext cx="3992880" cy="406400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0"/>
              </a:spcAft>
            </a:pPr>
            <a:r>
              <a:rPr lang="en-GB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HS England and NHS Improvement</a:t>
            </a:r>
            <a:endParaRPr lang="en-GB" sz="1200" dirty="0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45288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81" y="1597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1" y="1597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4975" y="163513"/>
            <a:ext cx="7726347" cy="8318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4990" y="1509714"/>
            <a:ext cx="8274051" cy="46132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434975" y="6293224"/>
            <a:ext cx="8274066" cy="304128"/>
          </a:xfrm>
          <a:prstGeom prst="rect">
            <a:avLst/>
          </a:prstGeo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750" b="0"/>
            </a:lvl1pPr>
            <a:lvl2pPr marL="270266" indent="-138110">
              <a:buFont typeface="Arial" panose="020B0604020202020204" pitchFamily="34" charset="0"/>
              <a:buChar char="•"/>
              <a:defRPr sz="1050"/>
            </a:lvl2pPr>
            <a:lvl3pPr marL="540530" indent="-208355">
              <a:buFont typeface="Courier New" panose="02070309020205020404" pitchFamily="49" charset="0"/>
              <a:buChar char="o"/>
              <a:defRPr sz="1050" baseline="0"/>
            </a:lvl3pPr>
          </a:lstStyle>
          <a:p>
            <a:pPr lvl="0"/>
            <a:r>
              <a:rPr lang="en-US" dirty="0"/>
              <a:t>Click to add notes or sources</a:t>
            </a:r>
          </a:p>
        </p:txBody>
      </p:sp>
    </p:spTree>
    <p:extLst>
      <p:ext uri="{BB962C8B-B14F-4D97-AF65-F5344CB8AC3E}">
        <p14:creationId xmlns:p14="http://schemas.microsoft.com/office/powerpoint/2010/main" val="29492393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Box 4">
            <a:extLst>
              <a:ext uri="{FF2B5EF4-FFF2-40B4-BE49-F238E27FC236}">
                <a16:creationId xmlns:a16="http://schemas.microsoft.com/office/drawing/2014/main" id="{733EB1D2-9EB5-4BBA-9043-DD9322866AB7}"/>
              </a:ext>
            </a:extLst>
          </p:cNvPr>
          <p:cNvSpPr txBox="1"/>
          <p:nvPr userDrawn="1"/>
        </p:nvSpPr>
        <p:spPr>
          <a:xfrm>
            <a:off x="2575560" y="6052254"/>
            <a:ext cx="3992880" cy="406400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en-GB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HS England and NHS Improvement</a:t>
            </a:r>
            <a:endParaRPr lang="en-GB" sz="1100" dirty="0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0"/>
          </p:nvPr>
        </p:nvSpPr>
        <p:spPr>
          <a:xfrm>
            <a:off x="465180" y="1649628"/>
            <a:ext cx="7737674" cy="2244128"/>
          </a:xfrm>
          <a:prstGeom prst="rect">
            <a:avLst/>
          </a:prstGeom>
        </p:spPr>
        <p:txBody>
          <a:bodyPr/>
          <a:lstStyle>
            <a:lvl1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61190" y="854464"/>
            <a:ext cx="6567055" cy="611649"/>
          </a:xfrm>
          <a:prstGeom prst="rect">
            <a:avLst/>
          </a:prstGeom>
        </p:spPr>
        <p:txBody>
          <a:bodyPr/>
          <a:lstStyle>
            <a:lvl1pPr>
              <a:defRPr sz="3600" b="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US" sz="2800" dirty="0">
              <a:solidFill>
                <a:srgbClr val="005EB8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291314" y="6372536"/>
            <a:ext cx="6473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fld id="{34F92BC6-D7C3-584B-87F2-0B845776A5AD}" type="slidenum">
              <a:rPr lang="en-US" sz="1200" smtClean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/>
              <a:t>‹#›</a:t>
            </a:fld>
            <a:r>
              <a:rPr lang="en-US" sz="1200" dirty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200" dirty="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|</a:t>
            </a:r>
            <a:endParaRPr lang="en-US" sz="1200" dirty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90676" y="6333439"/>
            <a:ext cx="57231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>
                <a:solidFill>
                  <a:schemeClr val="accent3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pic>
        <p:nvPicPr>
          <p:cNvPr id="12" name="Picture 11" descr="A picture containing clipart&#10;&#10;Description generated with very high confidence">
            <a:extLst>
              <a:ext uri="{FF2B5EF4-FFF2-40B4-BE49-F238E27FC236}">
                <a16:creationId xmlns:a16="http://schemas.microsoft.com/office/drawing/2014/main" id="{7ADC841C-5A22-4563-A975-9750BB6F94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56218" y="293024"/>
            <a:ext cx="1080655" cy="436418"/>
          </a:xfrm>
          <a:prstGeom prst="rect">
            <a:avLst/>
          </a:prstGeom>
        </p:spPr>
      </p:pic>
      <p:pic>
        <p:nvPicPr>
          <p:cNvPr id="7" name="Content Placeholder 16">
            <a:extLst>
              <a:ext uri="{FF2B5EF4-FFF2-40B4-BE49-F238E27FC236}">
                <a16:creationId xmlns:a16="http://schemas.microsoft.com/office/drawing/2014/main" id="{5FDDE1C8-218E-4901-92BB-E0ADB27DCE4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345236"/>
            <a:ext cx="9144000" cy="309465"/>
          </a:xfrm>
          <a:prstGeom prst="rect">
            <a:avLst/>
          </a:prstGeom>
        </p:spPr>
      </p:pic>
      <p:pic>
        <p:nvPicPr>
          <p:cNvPr id="14" name="Picture 3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0225" y="293024"/>
            <a:ext cx="1062038" cy="47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4" descr="image00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1242" y="293024"/>
            <a:ext cx="436418" cy="4364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160268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with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81" y="1597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1" y="1597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4975" y="163513"/>
            <a:ext cx="7726347" cy="8318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4990" y="1509714"/>
            <a:ext cx="8274051" cy="46132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Body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434975" y="6293224"/>
            <a:ext cx="8274066" cy="304128"/>
          </a:xfrm>
          <a:prstGeom prst="rect">
            <a:avLst/>
          </a:prstGeo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750" b="0"/>
            </a:lvl1pPr>
            <a:lvl2pPr marL="270266" indent="-138110">
              <a:buFont typeface="Arial" panose="020B0604020202020204" pitchFamily="34" charset="0"/>
              <a:buChar char="•"/>
              <a:defRPr sz="1050"/>
            </a:lvl2pPr>
            <a:lvl3pPr marL="540530" indent="-208355">
              <a:buFont typeface="Courier New" panose="02070309020205020404" pitchFamily="49" charset="0"/>
              <a:buChar char="o"/>
              <a:defRPr sz="1050" baseline="0"/>
            </a:lvl3pPr>
          </a:lstStyle>
          <a:p>
            <a:pPr lvl="0"/>
            <a:r>
              <a:rPr lang="en-US" dirty="0"/>
              <a:t>Click to add notes or sources</a:t>
            </a:r>
          </a:p>
        </p:txBody>
      </p:sp>
      <p:sp>
        <p:nvSpPr>
          <p:cNvPr id="7" name="Text Placeholder 36"/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1976013" y="5545878"/>
            <a:ext cx="5191974" cy="669027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91440" rIns="108000" bIns="91440" numCol="1" rtlCol="0" anchor="ctr" anchorCtr="0" compatLnSpc="1">
            <a:prstTxWarp prst="textNoShape">
              <a:avLst/>
            </a:prstTxWarp>
            <a:noAutofit/>
          </a:bodyPr>
          <a:lstStyle>
            <a:lvl1pPr algn="ctr">
              <a:defRPr kumimoji="0" lang="en-US" i="0" u="none" strike="noStrike" kern="1200" cap="none" normalizeH="0" baseline="0" smtClean="0">
                <a:solidFill>
                  <a:schemeClr val="bg1"/>
                </a:solidFill>
                <a:effectLst/>
              </a:defRPr>
            </a:lvl1pPr>
            <a:lvl2pPr>
              <a:defRPr lang="en-US" sz="1050" kern="1200" smtClean="0">
                <a:ea typeface="+mn-ea"/>
              </a:defRPr>
            </a:lvl2pPr>
            <a:lvl3pPr>
              <a:defRPr lang="en-US" sz="1050" kern="1200" smtClean="0">
                <a:ea typeface="+mn-ea"/>
              </a:defRPr>
            </a:lvl3pPr>
            <a:lvl4pPr>
              <a:defRPr lang="en-US" sz="1050" kern="1200" smtClean="0">
                <a:ea typeface="+mn-ea"/>
              </a:defRPr>
            </a:lvl4pPr>
            <a:lvl5pPr>
              <a:defRPr lang="en-GB" sz="1050" kern="1200">
                <a:ea typeface="+mn-ea"/>
              </a:defRPr>
            </a:lvl5pPr>
          </a:lstStyle>
          <a:p>
            <a:pPr marL="0" marR="0" lvl="0" indent="0" algn="ctr" latinLnBrk="0"/>
            <a:r>
              <a:rPr lang="en-US" dirty="0"/>
              <a:t>Click to edit text. Use this ‘takeaway box’ to </a:t>
            </a:r>
            <a:r>
              <a:rPr lang="en-US" dirty="0" err="1"/>
              <a:t>summarise</a:t>
            </a:r>
            <a:r>
              <a:rPr lang="en-US" dirty="0"/>
              <a:t> the key message of the slid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35222" y="995363"/>
            <a:ext cx="7725508" cy="309562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>
            <a:lvl1pPr>
              <a:defRPr lang="en-US" sz="1200" b="0" kern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>
              <a:defRPr lang="en-US" sz="1200" b="0" kern="1200" dirty="0" smtClean="0">
                <a:solidFill>
                  <a:schemeClr val="tx2"/>
                </a:solidFill>
                <a:latin typeface="Trebuchet MS" pitchFamily="34" charset="0"/>
                <a:ea typeface="+mn-ea"/>
                <a:cs typeface="Arial" charset="0"/>
              </a:defRPr>
            </a:lvl2pPr>
            <a:lvl3pPr>
              <a:defRPr lang="en-US" sz="1200" b="0" kern="1200" dirty="0" smtClean="0">
                <a:solidFill>
                  <a:schemeClr val="tx2"/>
                </a:solidFill>
                <a:latin typeface="Trebuchet MS" pitchFamily="34" charset="0"/>
                <a:ea typeface="+mn-ea"/>
                <a:cs typeface="Arial" charset="0"/>
              </a:defRPr>
            </a:lvl3pPr>
            <a:lvl4pPr>
              <a:defRPr lang="en-US" sz="1200" b="0" kern="1200" dirty="0" smtClean="0">
                <a:solidFill>
                  <a:schemeClr val="tx2"/>
                </a:solidFill>
                <a:latin typeface="Trebuchet MS" pitchFamily="34" charset="0"/>
                <a:ea typeface="+mn-ea"/>
                <a:cs typeface="Arial" charset="0"/>
              </a:defRPr>
            </a:lvl4pPr>
            <a:lvl5pPr>
              <a:defRPr lang="en-GB" sz="1200" b="0" kern="1200" dirty="0">
                <a:solidFill>
                  <a:schemeClr val="tx2"/>
                </a:solidFill>
                <a:latin typeface="Trebuchet MS" pitchFamily="34" charset="0"/>
                <a:ea typeface="+mn-ea"/>
                <a:cs typeface="Arial" charset="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Sub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781157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ue ch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4975" y="161366"/>
            <a:ext cx="7726347" cy="8339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>
            <a:lvl1pPr>
              <a:defRPr lang="en-GB" dirty="0"/>
            </a:lvl1pPr>
          </a:lstStyle>
          <a:p>
            <a:pPr lvl="0"/>
            <a:r>
              <a:rPr lang="en-US" dirty="0"/>
              <a:t>Narrative title style (no more than two lines long)</a:t>
            </a:r>
            <a:endParaRPr lang="en-GB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>
          <a:xfrm>
            <a:off x="434977" y="1568495"/>
            <a:ext cx="2817145" cy="529246"/>
          </a:xfrm>
          <a:prstGeom prst="homePlate">
            <a:avLst>
              <a:gd name="adj" fmla="val 37104"/>
            </a:avLst>
          </a:prstGeom>
          <a:solidFill>
            <a:schemeClr val="accent4"/>
          </a:solidFill>
          <a:ln>
            <a:noFill/>
          </a:ln>
        </p:spPr>
        <p:txBody>
          <a:bodyPr lIns="72000" rIns="72000" anchor="ctr"/>
          <a:lstStyle>
            <a:lvl1pPr marL="0" indent="0" algn="ctr">
              <a:spcBef>
                <a:spcPts val="0"/>
              </a:spcBef>
              <a:buNone/>
              <a:defRPr sz="1200" b="1" u="none">
                <a:solidFill>
                  <a:schemeClr val="bg1"/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434976" y="2193263"/>
            <a:ext cx="2593716" cy="356208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50" b="1"/>
            </a:lvl1pPr>
            <a:lvl2pPr marL="270266" indent="-138110">
              <a:buFont typeface="Arial" panose="020B0604020202020204" pitchFamily="34" charset="0"/>
              <a:buChar char="•"/>
              <a:defRPr sz="1050"/>
            </a:lvl2pPr>
            <a:lvl3pPr marL="540530" indent="-208355">
              <a:buFont typeface="Courier New" panose="02070309020205020404" pitchFamily="49" charset="0"/>
              <a:buChar char="o"/>
              <a:defRPr sz="1050" baseline="0"/>
            </a:lvl3pPr>
          </a:lstStyle>
          <a:p>
            <a:pPr lvl="0"/>
            <a:r>
              <a:rPr lang="en-US" dirty="0"/>
              <a:t>Text box (click to edit content)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20"/>
          </p:nvPr>
        </p:nvSpPr>
        <p:spPr>
          <a:xfrm>
            <a:off x="3125014" y="1568495"/>
            <a:ext cx="2817145" cy="529246"/>
          </a:xfrm>
          <a:prstGeom prst="chevron">
            <a:avLst>
              <a:gd name="adj" fmla="val 37296"/>
            </a:avLst>
          </a:prstGeom>
          <a:solidFill>
            <a:schemeClr val="accent4"/>
          </a:solidFill>
          <a:ln>
            <a:noFill/>
          </a:ln>
        </p:spPr>
        <p:txBody>
          <a:bodyPr lIns="72000" rIns="72000" anchor="ctr"/>
          <a:lstStyle>
            <a:lvl1pPr marL="0" indent="0" algn="ctr">
              <a:spcBef>
                <a:spcPts val="0"/>
              </a:spcBef>
              <a:buNone/>
              <a:defRPr sz="1200" b="1" u="none">
                <a:solidFill>
                  <a:schemeClr val="bg1"/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21"/>
          </p:nvPr>
        </p:nvSpPr>
        <p:spPr>
          <a:xfrm>
            <a:off x="5818563" y="1568495"/>
            <a:ext cx="2817145" cy="529246"/>
          </a:xfrm>
          <a:prstGeom prst="chevron">
            <a:avLst>
              <a:gd name="adj" fmla="val 37296"/>
            </a:avLst>
          </a:prstGeom>
          <a:solidFill>
            <a:schemeClr val="accent4"/>
          </a:solidFill>
          <a:ln>
            <a:noFill/>
          </a:ln>
        </p:spPr>
        <p:txBody>
          <a:bodyPr lIns="72000" rIns="72000" anchor="ctr"/>
          <a:lstStyle>
            <a:lvl1pPr marL="0" indent="0" algn="ctr">
              <a:spcBef>
                <a:spcPts val="0"/>
              </a:spcBef>
              <a:buNone/>
              <a:defRPr sz="1200" b="1" u="none">
                <a:solidFill>
                  <a:schemeClr val="bg1"/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6" name="Text Placeholder 20"/>
          <p:cNvSpPr>
            <a:spLocks noGrp="1"/>
          </p:cNvSpPr>
          <p:nvPr>
            <p:ph type="body" sz="quarter" idx="22" hasCustomPrompt="1"/>
          </p:nvPr>
        </p:nvSpPr>
        <p:spPr>
          <a:xfrm>
            <a:off x="3149837" y="2193263"/>
            <a:ext cx="2593716" cy="356208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50" b="1"/>
            </a:lvl1pPr>
            <a:lvl2pPr marL="270266" indent="-138110">
              <a:buFont typeface="Arial" panose="020B0604020202020204" pitchFamily="34" charset="0"/>
              <a:buChar char="•"/>
              <a:defRPr sz="1050"/>
            </a:lvl2pPr>
            <a:lvl3pPr marL="540530" indent="-208355">
              <a:buFont typeface="Courier New" panose="02070309020205020404" pitchFamily="49" charset="0"/>
              <a:buChar char="o"/>
              <a:defRPr sz="1050" baseline="0"/>
            </a:lvl3pPr>
          </a:lstStyle>
          <a:p>
            <a:pPr lvl="0"/>
            <a:r>
              <a:rPr lang="en-US" dirty="0"/>
              <a:t>Text box (click to edit content)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  <p:sp>
        <p:nvSpPr>
          <p:cNvPr id="17" name="Text Placeholder 20"/>
          <p:cNvSpPr>
            <a:spLocks noGrp="1"/>
          </p:cNvSpPr>
          <p:nvPr>
            <p:ph type="body" sz="quarter" idx="23" hasCustomPrompt="1"/>
          </p:nvPr>
        </p:nvSpPr>
        <p:spPr>
          <a:xfrm>
            <a:off x="5852286" y="2193263"/>
            <a:ext cx="2593716" cy="3562081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50" b="1"/>
            </a:lvl1pPr>
            <a:lvl2pPr marL="270266" indent="-138110">
              <a:buFont typeface="Arial" panose="020B0604020202020204" pitchFamily="34" charset="0"/>
              <a:buChar char="•"/>
              <a:defRPr sz="1050"/>
            </a:lvl2pPr>
            <a:lvl3pPr marL="540530" indent="-208355">
              <a:buFont typeface="Courier New" panose="02070309020205020404" pitchFamily="49" charset="0"/>
              <a:buChar char="o"/>
              <a:defRPr sz="1050" baseline="0"/>
            </a:lvl3pPr>
          </a:lstStyle>
          <a:p>
            <a:pPr lvl="0"/>
            <a:r>
              <a:rPr lang="en-US" dirty="0"/>
              <a:t>Text box (click to edit content)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</p:spTree>
    <p:extLst>
      <p:ext uri="{BB962C8B-B14F-4D97-AF65-F5344CB8AC3E}">
        <p14:creationId xmlns:p14="http://schemas.microsoft.com/office/powerpoint/2010/main" val="9443805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4975" y="161366"/>
            <a:ext cx="7726347" cy="8339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>
            <a:lvl1pPr>
              <a:defRPr lang="en-GB" dirty="0"/>
            </a:lvl1pPr>
          </a:lstStyle>
          <a:p>
            <a:pPr lvl="0"/>
            <a:r>
              <a:rPr lang="en-US" dirty="0"/>
              <a:t>Narrative title style (no more than two lines long)</a:t>
            </a:r>
            <a:endParaRPr lang="en-GB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4952655" y="2286005"/>
            <a:ext cx="3574848" cy="3998683"/>
          </a:xfrm>
          <a:prstGeom prst="rect">
            <a:avLst/>
          </a:prstGeom>
        </p:spPr>
        <p:txBody>
          <a:bodyPr lIns="72000"/>
          <a:lstStyle>
            <a:lvl1pPr marL="0" indent="0">
              <a:buFont typeface="Arial" panose="020B0604020202020204" pitchFamily="34" charset="0"/>
              <a:buNone/>
              <a:defRPr sz="1050" b="1"/>
            </a:lvl1pPr>
            <a:lvl2pPr marL="270266" indent="-138110">
              <a:buFont typeface="Arial" panose="020B0604020202020204" pitchFamily="34" charset="0"/>
              <a:buChar char="•"/>
              <a:defRPr sz="1050"/>
            </a:lvl2pPr>
            <a:lvl3pPr marL="540530" indent="-208355">
              <a:buFont typeface="Courier New" panose="02070309020205020404" pitchFamily="49" charset="0"/>
              <a:buChar char="o"/>
              <a:defRPr sz="1050" baseline="0"/>
            </a:lvl3pPr>
          </a:lstStyle>
          <a:p>
            <a:pPr lvl="0"/>
            <a:r>
              <a:rPr lang="en-US" dirty="0"/>
              <a:t>Text box (click to edit content)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34974" y="1568498"/>
            <a:ext cx="3655386" cy="56958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rtlCol="0" anchor="b" anchorCtr="0">
            <a:noAutofit/>
          </a:bodyPr>
          <a:lstStyle>
            <a:lvl1pPr algn="ctr">
              <a:defRPr lang="en-US" kern="1200" dirty="0" smtClean="0">
                <a:solidFill>
                  <a:srgbClr val="000000"/>
                </a:solidFill>
              </a:defRPr>
            </a:lvl1pPr>
          </a:lstStyle>
          <a:p>
            <a:pPr lvl="0" algn="ctr"/>
            <a:r>
              <a:rPr lang="en-US" dirty="0"/>
              <a:t>Click to edit Box 1</a:t>
            </a:r>
          </a:p>
        </p:txBody>
      </p:sp>
      <p:sp>
        <p:nvSpPr>
          <p:cNvPr id="1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434978" y="2286005"/>
            <a:ext cx="3655385" cy="3998683"/>
          </a:xfrm>
          <a:prstGeom prst="rect">
            <a:avLst/>
          </a:prstGeom>
        </p:spPr>
        <p:txBody>
          <a:bodyPr lIns="72000"/>
          <a:lstStyle>
            <a:lvl1pPr marL="0" indent="0">
              <a:buFont typeface="Arial" panose="020B0604020202020204" pitchFamily="34" charset="0"/>
              <a:buNone/>
              <a:defRPr sz="1050" b="1"/>
            </a:lvl1pPr>
            <a:lvl2pPr marL="270266" indent="-138110">
              <a:buFont typeface="Arial" panose="020B0604020202020204" pitchFamily="34" charset="0"/>
              <a:buChar char="•"/>
              <a:defRPr sz="1050"/>
            </a:lvl2pPr>
            <a:lvl3pPr marL="540530" indent="-208355">
              <a:buFont typeface="Courier New" panose="02070309020205020404" pitchFamily="49" charset="0"/>
              <a:buChar char="o"/>
              <a:defRPr sz="1050" baseline="0"/>
            </a:lvl3pPr>
          </a:lstStyle>
          <a:p>
            <a:pPr lvl="0"/>
            <a:r>
              <a:rPr lang="en-US" dirty="0"/>
              <a:t>Text box (click to edit content)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4952655" y="1568498"/>
            <a:ext cx="3574848" cy="56958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vert="horz" wrap="square" lIns="0" tIns="91440" rIns="0" bIns="91440" numCol="1" rtlCol="0" anchor="b" anchorCtr="0" compatLnSpc="1">
            <a:prstTxWarp prst="textNoShape">
              <a:avLst/>
            </a:prstTxWarp>
            <a:noAutofit/>
          </a:bodyPr>
          <a:lstStyle>
            <a:lvl1pPr algn="ctr">
              <a:defRPr lang="en-US" kern="1200" dirty="0" smtClean="0">
                <a:solidFill>
                  <a:srgbClr val="000000"/>
                </a:solidFill>
              </a:defRPr>
            </a:lvl1pPr>
          </a:lstStyle>
          <a:p>
            <a:pPr lvl="0" algn="ctr"/>
            <a:r>
              <a:rPr lang="en-US" dirty="0"/>
              <a:t>Click to edit Box 2</a:t>
            </a:r>
          </a:p>
        </p:txBody>
      </p:sp>
    </p:spTree>
    <p:extLst>
      <p:ext uri="{BB962C8B-B14F-4D97-AF65-F5344CB8AC3E}">
        <p14:creationId xmlns:p14="http://schemas.microsoft.com/office/powerpoint/2010/main" val="30829755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81" y="1597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1" y="1597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Text Placeholder 10"/>
          <p:cNvSpPr>
            <a:spLocks noGrp="1"/>
          </p:cNvSpPr>
          <p:nvPr>
            <p:ph type="body" idx="1"/>
          </p:nvPr>
        </p:nvSpPr>
        <p:spPr>
          <a:xfrm>
            <a:off x="434975" y="1568495"/>
            <a:ext cx="3634158" cy="529246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Box</a:t>
            </a:r>
          </a:p>
        </p:txBody>
      </p:sp>
      <p:sp>
        <p:nvSpPr>
          <p:cNvPr id="57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434975" y="2097741"/>
            <a:ext cx="3634158" cy="1614466"/>
          </a:xfrm>
          <a:solidFill>
            <a:schemeClr val="bg1">
              <a:lumMod val="95000"/>
            </a:schemeClr>
          </a:solidFill>
        </p:spPr>
        <p:txBody>
          <a:bodyPr lIns="72000" tIns="90000" rIns="72000" bIns="72000"/>
          <a:lstStyle>
            <a:lvl1pPr>
              <a:defRPr sz="1050"/>
            </a:lvl1pPr>
          </a:lstStyle>
          <a:p>
            <a:r>
              <a:rPr lang="en-GB" dirty="0"/>
              <a:t>Box</a:t>
            </a:r>
          </a:p>
        </p:txBody>
      </p:sp>
      <p:sp>
        <p:nvSpPr>
          <p:cNvPr id="58" name="Title 1"/>
          <p:cNvSpPr>
            <a:spLocks noGrp="1"/>
          </p:cNvSpPr>
          <p:nvPr>
            <p:ph type="title" hasCustomPrompt="1"/>
          </p:nvPr>
        </p:nvSpPr>
        <p:spPr>
          <a:xfrm>
            <a:off x="434975" y="161366"/>
            <a:ext cx="7726347" cy="8339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>
            <a:lvl1pPr>
              <a:defRPr lang="en-GB" dirty="0"/>
            </a:lvl1pPr>
          </a:lstStyle>
          <a:p>
            <a:pPr lvl="0"/>
            <a:r>
              <a:rPr lang="en-US" dirty="0"/>
              <a:t>Narrative title style (no more than two lines long)</a:t>
            </a:r>
            <a:endParaRPr lang="en-GB" dirty="0"/>
          </a:p>
        </p:txBody>
      </p:sp>
      <p:sp>
        <p:nvSpPr>
          <p:cNvPr id="60" name="Text Placeholder 20"/>
          <p:cNvSpPr>
            <a:spLocks noGrp="1"/>
          </p:cNvSpPr>
          <p:nvPr>
            <p:ph type="body" sz="quarter" idx="11" hasCustomPrompt="1"/>
          </p:nvPr>
        </p:nvSpPr>
        <p:spPr>
          <a:xfrm>
            <a:off x="434975" y="6293224"/>
            <a:ext cx="8274066" cy="304128"/>
          </a:xfrm>
          <a:prstGeom prst="rect">
            <a:avLst/>
          </a:prstGeo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750" b="0"/>
            </a:lvl1pPr>
            <a:lvl2pPr marL="270266" indent="-138110">
              <a:buFont typeface="Arial" panose="020B0604020202020204" pitchFamily="34" charset="0"/>
              <a:buChar char="•"/>
              <a:defRPr sz="1050"/>
            </a:lvl2pPr>
            <a:lvl3pPr marL="540530" indent="-208355">
              <a:buFont typeface="Courier New" panose="02070309020205020404" pitchFamily="49" charset="0"/>
              <a:buChar char="o"/>
              <a:defRPr sz="1050" baseline="0"/>
            </a:lvl3pPr>
          </a:lstStyle>
          <a:p>
            <a:pPr lvl="0"/>
            <a:r>
              <a:rPr lang="en-US" dirty="0"/>
              <a:t>Click to add notes or sources</a:t>
            </a:r>
          </a:p>
        </p:txBody>
      </p:sp>
      <p:sp>
        <p:nvSpPr>
          <p:cNvPr id="61" name="Text Placeholder 10"/>
          <p:cNvSpPr>
            <a:spLocks noGrp="1"/>
          </p:cNvSpPr>
          <p:nvPr>
            <p:ph type="body" idx="15"/>
          </p:nvPr>
        </p:nvSpPr>
        <p:spPr>
          <a:xfrm>
            <a:off x="4791821" y="1568495"/>
            <a:ext cx="3634158" cy="529246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Box</a:t>
            </a:r>
          </a:p>
        </p:txBody>
      </p:sp>
      <p:sp>
        <p:nvSpPr>
          <p:cNvPr id="62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791821" y="2097741"/>
            <a:ext cx="3634158" cy="1614466"/>
          </a:xfrm>
          <a:solidFill>
            <a:schemeClr val="bg1">
              <a:lumMod val="95000"/>
            </a:schemeClr>
          </a:solidFill>
        </p:spPr>
        <p:txBody>
          <a:bodyPr lIns="72000" tIns="90000" rIns="72000" bIns="72000"/>
          <a:lstStyle>
            <a:lvl1pPr>
              <a:defRPr sz="1050"/>
            </a:lvl1pPr>
          </a:lstStyle>
          <a:p>
            <a:r>
              <a:rPr lang="en-GB" dirty="0"/>
              <a:t>Box</a:t>
            </a:r>
          </a:p>
        </p:txBody>
      </p:sp>
      <p:sp>
        <p:nvSpPr>
          <p:cNvPr id="63" name="Text Placeholder 10"/>
          <p:cNvSpPr>
            <a:spLocks noGrp="1"/>
          </p:cNvSpPr>
          <p:nvPr>
            <p:ph type="body" idx="17"/>
          </p:nvPr>
        </p:nvSpPr>
        <p:spPr>
          <a:xfrm>
            <a:off x="434975" y="3962071"/>
            <a:ext cx="3634158" cy="529246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Box</a:t>
            </a:r>
          </a:p>
        </p:txBody>
      </p:sp>
      <p:sp>
        <p:nvSpPr>
          <p:cNvPr id="64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434975" y="4491317"/>
            <a:ext cx="3634158" cy="1614466"/>
          </a:xfrm>
          <a:solidFill>
            <a:schemeClr val="bg1">
              <a:lumMod val="95000"/>
            </a:schemeClr>
          </a:solidFill>
        </p:spPr>
        <p:txBody>
          <a:bodyPr lIns="72000" tIns="90000" rIns="72000" bIns="72000"/>
          <a:lstStyle>
            <a:lvl1pPr>
              <a:defRPr sz="1050"/>
            </a:lvl1pPr>
          </a:lstStyle>
          <a:p>
            <a:r>
              <a:rPr lang="en-GB" dirty="0"/>
              <a:t>Box</a:t>
            </a:r>
          </a:p>
        </p:txBody>
      </p:sp>
      <p:sp>
        <p:nvSpPr>
          <p:cNvPr id="65" name="Text Placeholder 10"/>
          <p:cNvSpPr>
            <a:spLocks noGrp="1"/>
          </p:cNvSpPr>
          <p:nvPr>
            <p:ph type="body" idx="19"/>
          </p:nvPr>
        </p:nvSpPr>
        <p:spPr>
          <a:xfrm>
            <a:off x="4791821" y="3962071"/>
            <a:ext cx="3634158" cy="529246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Box</a:t>
            </a:r>
          </a:p>
        </p:txBody>
      </p:sp>
      <p:sp>
        <p:nvSpPr>
          <p:cNvPr id="66" name="Text Placeholder 12"/>
          <p:cNvSpPr>
            <a:spLocks noGrp="1"/>
          </p:cNvSpPr>
          <p:nvPr>
            <p:ph type="body" sz="quarter" idx="20"/>
          </p:nvPr>
        </p:nvSpPr>
        <p:spPr>
          <a:xfrm>
            <a:off x="4791821" y="4491317"/>
            <a:ext cx="3634158" cy="1614466"/>
          </a:xfrm>
          <a:solidFill>
            <a:schemeClr val="bg1">
              <a:lumMod val="95000"/>
            </a:schemeClr>
          </a:solidFill>
        </p:spPr>
        <p:txBody>
          <a:bodyPr lIns="72000" tIns="90000" rIns="72000" bIns="72000"/>
          <a:lstStyle>
            <a:lvl1pPr>
              <a:defRPr sz="1050"/>
            </a:lvl1pPr>
          </a:lstStyle>
          <a:p>
            <a:r>
              <a:rPr lang="en-GB" dirty="0"/>
              <a:t>Box</a:t>
            </a:r>
          </a:p>
        </p:txBody>
      </p:sp>
    </p:spTree>
    <p:extLst>
      <p:ext uri="{BB962C8B-B14F-4D97-AF65-F5344CB8AC3E}">
        <p14:creationId xmlns:p14="http://schemas.microsoft.com/office/powerpoint/2010/main" val="37812785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81" y="1597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1" y="1597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5222" y="2437800"/>
            <a:ext cx="7725508" cy="644525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ctr" anchorCtr="0" compatLnSpc="1">
            <a:prstTxWarp prst="textNoShape">
              <a:avLst/>
            </a:prstTxWarp>
          </a:bodyPr>
          <a:lstStyle>
            <a:lvl1pPr>
              <a:defRPr lang="en-US" sz="1500" smtClean="0">
                <a:solidFill>
                  <a:schemeClr val="bg1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2pPr>
            <a:lvl3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3pPr>
            <a:lvl4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4pPr>
            <a:lvl5pPr>
              <a:defRPr lang="en-GB" sz="18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Section 2</a:t>
            </a:r>
            <a:endParaRPr lang="en-GB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35222" y="3166603"/>
            <a:ext cx="7725508" cy="644525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ctr" anchorCtr="0" compatLnSpc="1">
            <a:prstTxWarp prst="textNoShape">
              <a:avLst/>
            </a:prstTxWarp>
          </a:bodyPr>
          <a:lstStyle>
            <a:lvl1pPr>
              <a:defRPr lang="en-US" sz="1500" smtClean="0">
                <a:solidFill>
                  <a:schemeClr val="bg1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2pPr>
            <a:lvl3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3pPr>
            <a:lvl4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4pPr>
            <a:lvl5pPr>
              <a:defRPr lang="en-GB" sz="18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Section 3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5222" y="3895405"/>
            <a:ext cx="7725508" cy="644525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ctr" anchorCtr="0" compatLnSpc="1">
            <a:prstTxWarp prst="textNoShape">
              <a:avLst/>
            </a:prstTxWarp>
          </a:bodyPr>
          <a:lstStyle>
            <a:lvl1pPr>
              <a:defRPr lang="en-US" sz="150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2pPr>
            <a:lvl3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3pPr>
            <a:lvl4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4pPr>
            <a:lvl5pPr>
              <a:defRPr lang="en-GB" sz="18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This section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435222" y="4624207"/>
            <a:ext cx="7725508" cy="644525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ctr" anchorCtr="0" compatLnSpc="1">
            <a:prstTxWarp prst="textNoShape">
              <a:avLst/>
            </a:prstTxWarp>
          </a:bodyPr>
          <a:lstStyle>
            <a:lvl1pPr>
              <a:defRPr lang="en-US" sz="1500" smtClean="0">
                <a:solidFill>
                  <a:schemeClr val="bg1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2pPr>
            <a:lvl3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3pPr>
            <a:lvl4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4pPr>
            <a:lvl5pPr>
              <a:defRPr lang="en-GB" sz="18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Section 5</a:t>
            </a:r>
            <a:endParaRPr lang="en-GB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35222" y="1708995"/>
            <a:ext cx="7725508" cy="644525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ctr" anchorCtr="0" compatLnSpc="1">
            <a:prstTxWarp prst="textNoShape">
              <a:avLst/>
            </a:prstTxWarp>
          </a:bodyPr>
          <a:lstStyle>
            <a:lvl1pPr>
              <a:defRPr lang="en-US" sz="1500" baseline="0" smtClean="0">
                <a:solidFill>
                  <a:schemeClr val="bg1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2pPr>
            <a:lvl3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3pPr>
            <a:lvl4pPr>
              <a:defRPr lang="en-US" sz="1800" b="1" smtClean="0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4pPr>
            <a:lvl5pPr>
              <a:defRPr lang="en-GB" sz="18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/>
              <a:t>Section 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92615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81" y="1597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1" y="1597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4975" y="163513"/>
            <a:ext cx="7726347" cy="8318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86230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481" y="1597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1" y="1597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109345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oleObject" Target="../embeddings/oleObject9.bin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ags" Target="../tags/tag11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tags" Target="../tags/tag10.xml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2.png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481" y="1597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1" y="1597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FFA52BF-B1B5-45FB-8D06-66A9CB92F496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89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kumimoji="0" lang="en-GB" sz="1800" b="1" i="0" u="none" strike="noStrike" cap="none" normalizeH="0" baseline="0" dirty="0"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4990" y="163513"/>
            <a:ext cx="7726347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Slide title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4977" y="1509714"/>
            <a:ext cx="8274050" cy="4613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Body text</a:t>
            </a:r>
          </a:p>
          <a:p>
            <a:pPr lvl="1"/>
            <a:r>
              <a:rPr lang="en-GB" dirty="0"/>
              <a:t>First level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auto">
          <a:xfrm>
            <a:off x="8539164" y="6675438"/>
            <a:ext cx="176212" cy="1317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666734" fontAlgn="base">
              <a:spcBef>
                <a:spcPct val="0"/>
              </a:spcBef>
            </a:pPr>
            <a:fld id="{0AAE6F06-DF1F-4AFE-8A52-B806E3E9D437}" type="slidenum">
              <a:rPr lang="en-GB" sz="675">
                <a:solidFill>
                  <a:srgbClr val="0072C6"/>
                </a:solidFill>
              </a:rPr>
              <a:pPr algn="r" defTabSz="666734" fontAlgn="base">
                <a:spcBef>
                  <a:spcPct val="0"/>
                </a:spcBef>
              </a:pPr>
              <a:t>‹#›</a:t>
            </a:fld>
            <a:endParaRPr lang="en-GB" sz="675" dirty="0">
              <a:solidFill>
                <a:srgbClr val="0072C6"/>
              </a:solidFill>
            </a:endParaRPr>
          </a:p>
        </p:txBody>
      </p:sp>
      <p:pic>
        <p:nvPicPr>
          <p:cNvPr id="9" name="Picture 8" descr="logo-a5.png"/>
          <p:cNvPicPr>
            <a:picLocks noChangeAspect="1"/>
          </p:cNvPicPr>
          <p:nvPr userDrawn="1"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67" t="1" b="46429"/>
          <a:stretch/>
        </p:blipFill>
        <p:spPr>
          <a:xfrm>
            <a:off x="8394060" y="279908"/>
            <a:ext cx="598949" cy="272679"/>
          </a:xfrm>
          <a:prstGeom prst="rect">
            <a:avLst/>
          </a:prstGeom>
        </p:spPr>
      </p:pic>
      <p:sp>
        <p:nvSpPr>
          <p:cNvPr id="10" name="Date Placeholder 3"/>
          <p:cNvSpPr txBox="1">
            <a:spLocks/>
          </p:cNvSpPr>
          <p:nvPr/>
        </p:nvSpPr>
        <p:spPr>
          <a:xfrm>
            <a:off x="422031" y="6651692"/>
            <a:ext cx="981038" cy="12695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/>
            <a:r>
              <a:rPr lang="en-GB" sz="825" noProof="1">
                <a:solidFill>
                  <a:srgbClr val="0072C6"/>
                </a:solidFill>
              </a:rPr>
              <a:t>www.england.nhs.uk</a:t>
            </a:r>
          </a:p>
        </p:txBody>
      </p:sp>
    </p:spTree>
    <p:extLst>
      <p:ext uri="{BB962C8B-B14F-4D97-AF65-F5344CB8AC3E}">
        <p14:creationId xmlns:p14="http://schemas.microsoft.com/office/powerpoint/2010/main" val="8005442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</p:sldLayoutIdLst>
  <p:txStyles>
    <p:titleStyle>
      <a:lvl1pPr algn="l" defTabSz="666734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66734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defTabSz="666734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defTabSz="666734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defTabSz="666734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342892" algn="l" defTabSz="666734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685783" algn="l" defTabSz="666734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028675" algn="l" defTabSz="666734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371566" algn="l" defTabSz="666734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algn="l" defTabSz="666734" rtl="0" eaLnBrk="1" fontAlgn="base" hangingPunct="1">
        <a:spcBef>
          <a:spcPct val="20000"/>
        </a:spcBef>
        <a:spcAft>
          <a:spcPct val="0"/>
        </a:spcAft>
        <a:defRPr sz="1200" b="1">
          <a:solidFill>
            <a:schemeClr val="tx1"/>
          </a:solidFill>
          <a:latin typeface="+mn-lt"/>
          <a:ea typeface="+mn-ea"/>
          <a:cs typeface="+mn-cs"/>
        </a:defRPr>
      </a:lvl1pPr>
      <a:lvl2pPr marL="333367" indent="-166684" algn="l" defTabSz="666734" rtl="0" eaLnBrk="1" fontAlgn="base" hangingPunct="1">
        <a:spcBef>
          <a:spcPct val="20000"/>
        </a:spcBef>
        <a:spcAft>
          <a:spcPct val="0"/>
        </a:spcAft>
        <a:buClrTx/>
        <a:buChar char="•"/>
        <a:defRPr sz="1200">
          <a:solidFill>
            <a:schemeClr val="tx1"/>
          </a:solidFill>
          <a:latin typeface="+mn-lt"/>
          <a:cs typeface="+mn-cs"/>
        </a:defRPr>
      </a:lvl2pPr>
      <a:lvl3pPr marL="666734" indent="-166684" algn="l" defTabSz="666734" rtl="0" eaLnBrk="1" fontAlgn="base" hangingPunct="1">
        <a:spcBef>
          <a:spcPct val="20000"/>
        </a:spcBef>
        <a:spcAft>
          <a:spcPct val="0"/>
        </a:spcAft>
        <a:buClrTx/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  <a:cs typeface="+mn-cs"/>
        </a:defRPr>
      </a:lvl3pPr>
      <a:lvl4pPr marL="1003672" indent="-170256" algn="l" defTabSz="666734" rtl="0" eaLnBrk="1" fontAlgn="base" hangingPunct="1">
        <a:spcBef>
          <a:spcPct val="20000"/>
        </a:spcBef>
        <a:spcAft>
          <a:spcPct val="0"/>
        </a:spcAft>
        <a:buClrTx/>
        <a:buFont typeface="Trebuchet MS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4pPr>
      <a:lvl5pPr marL="1498960" indent="-165493" algn="l" defTabSz="666734" rtl="0" eaLnBrk="1" fontAlgn="base" hangingPunct="1">
        <a:spcBef>
          <a:spcPct val="20000"/>
        </a:spcBef>
        <a:spcAft>
          <a:spcPct val="0"/>
        </a:spcAft>
        <a:buClrTx/>
        <a:buFont typeface="Trebuchet MS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5pPr>
      <a:lvl6pPr marL="1841851" indent="-165493" algn="l" defTabSz="666734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6pPr>
      <a:lvl7pPr marL="2184743" indent="-165493" algn="l" defTabSz="666734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7pPr>
      <a:lvl8pPr marL="2527634" indent="-165493" algn="l" defTabSz="666734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8pPr>
      <a:lvl9pPr marL="2870525" indent="-165493" algn="l" defTabSz="666734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481" y="1597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1" y="1597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FFA52BF-B1B5-45FB-8D06-66A9CB92F496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890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kumimoji="0" lang="en-GB" sz="1800" b="1" i="0" u="none" strike="noStrike" cap="none" normalizeH="0" baseline="0" dirty="0"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4990" y="163513"/>
            <a:ext cx="7726347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Slide title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4977" y="1509714"/>
            <a:ext cx="8274050" cy="4613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Body text</a:t>
            </a:r>
          </a:p>
          <a:p>
            <a:pPr lvl="1"/>
            <a:r>
              <a:rPr lang="en-GB" dirty="0"/>
              <a:t>First level</a:t>
            </a:r>
          </a:p>
          <a:p>
            <a:pPr lvl="2"/>
            <a:r>
              <a:rPr lang="en-GB" dirty="0"/>
              <a:t>Second level</a:t>
            </a:r>
          </a:p>
          <a:p>
            <a:pPr lvl="3"/>
            <a:r>
              <a:rPr lang="en-GB" dirty="0"/>
              <a:t>Third level</a:t>
            </a:r>
          </a:p>
          <a:p>
            <a:pPr lvl="4"/>
            <a:r>
              <a:rPr lang="en-GB" dirty="0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auto">
          <a:xfrm>
            <a:off x="8539164" y="6675438"/>
            <a:ext cx="176212" cy="1317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666734" fontAlgn="base">
              <a:spcBef>
                <a:spcPct val="0"/>
              </a:spcBef>
            </a:pPr>
            <a:fld id="{0AAE6F06-DF1F-4AFE-8A52-B806E3E9D437}" type="slidenum">
              <a:rPr lang="en-GB" sz="675">
                <a:solidFill>
                  <a:srgbClr val="0072C6"/>
                </a:solidFill>
              </a:rPr>
              <a:pPr algn="r" defTabSz="666734" fontAlgn="base">
                <a:spcBef>
                  <a:spcPct val="0"/>
                </a:spcBef>
              </a:pPr>
              <a:t>‹#›</a:t>
            </a:fld>
            <a:endParaRPr lang="en-GB" sz="675" dirty="0">
              <a:solidFill>
                <a:srgbClr val="0072C6"/>
              </a:solidFill>
            </a:endParaRPr>
          </a:p>
        </p:txBody>
      </p:sp>
      <p:pic>
        <p:nvPicPr>
          <p:cNvPr id="9" name="Picture 8" descr="logo-a5.png"/>
          <p:cNvPicPr>
            <a:picLocks noChangeAspect="1"/>
          </p:cNvPicPr>
          <p:nvPr userDrawn="1"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67" t="1" b="46429"/>
          <a:stretch/>
        </p:blipFill>
        <p:spPr>
          <a:xfrm>
            <a:off x="8394060" y="279908"/>
            <a:ext cx="598949" cy="272679"/>
          </a:xfrm>
          <a:prstGeom prst="rect">
            <a:avLst/>
          </a:prstGeom>
        </p:spPr>
      </p:pic>
      <p:sp>
        <p:nvSpPr>
          <p:cNvPr id="10" name="Date Placeholder 3"/>
          <p:cNvSpPr txBox="1">
            <a:spLocks/>
          </p:cNvSpPr>
          <p:nvPr/>
        </p:nvSpPr>
        <p:spPr>
          <a:xfrm>
            <a:off x="422031" y="6651692"/>
            <a:ext cx="981038" cy="12695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/>
            <a:r>
              <a:rPr lang="en-GB" sz="825" noProof="1">
                <a:solidFill>
                  <a:srgbClr val="0072C6"/>
                </a:solidFill>
              </a:rPr>
              <a:t>www.england.nhs.uk</a:t>
            </a:r>
          </a:p>
        </p:txBody>
      </p:sp>
    </p:spTree>
    <p:extLst>
      <p:ext uri="{BB962C8B-B14F-4D97-AF65-F5344CB8AC3E}">
        <p14:creationId xmlns:p14="http://schemas.microsoft.com/office/powerpoint/2010/main" val="26120616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</p:sldLayoutIdLst>
  <p:txStyles>
    <p:titleStyle>
      <a:lvl1pPr algn="l" defTabSz="666734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66734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defTabSz="666734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defTabSz="666734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defTabSz="666734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342892" algn="l" defTabSz="666734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685783" algn="l" defTabSz="666734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028675" algn="l" defTabSz="666734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371566" algn="l" defTabSz="666734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algn="l" defTabSz="666734" rtl="0" eaLnBrk="1" fontAlgn="base" hangingPunct="1">
        <a:spcBef>
          <a:spcPct val="20000"/>
        </a:spcBef>
        <a:spcAft>
          <a:spcPct val="0"/>
        </a:spcAft>
        <a:defRPr sz="1200" b="1">
          <a:solidFill>
            <a:schemeClr val="tx1"/>
          </a:solidFill>
          <a:latin typeface="+mn-lt"/>
          <a:ea typeface="+mn-ea"/>
          <a:cs typeface="+mn-cs"/>
        </a:defRPr>
      </a:lvl1pPr>
      <a:lvl2pPr marL="333367" indent="-166684" algn="l" defTabSz="666734" rtl="0" eaLnBrk="1" fontAlgn="base" hangingPunct="1">
        <a:spcBef>
          <a:spcPct val="20000"/>
        </a:spcBef>
        <a:spcAft>
          <a:spcPct val="0"/>
        </a:spcAft>
        <a:buClrTx/>
        <a:buChar char="•"/>
        <a:defRPr sz="1200">
          <a:solidFill>
            <a:schemeClr val="tx1"/>
          </a:solidFill>
          <a:latin typeface="+mn-lt"/>
          <a:cs typeface="+mn-cs"/>
        </a:defRPr>
      </a:lvl2pPr>
      <a:lvl3pPr marL="666734" indent="-166684" algn="l" defTabSz="666734" rtl="0" eaLnBrk="1" fontAlgn="base" hangingPunct="1">
        <a:spcBef>
          <a:spcPct val="20000"/>
        </a:spcBef>
        <a:spcAft>
          <a:spcPct val="0"/>
        </a:spcAft>
        <a:buClrTx/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  <a:cs typeface="+mn-cs"/>
        </a:defRPr>
      </a:lvl3pPr>
      <a:lvl4pPr marL="1003672" indent="-170256" algn="l" defTabSz="666734" rtl="0" eaLnBrk="1" fontAlgn="base" hangingPunct="1">
        <a:spcBef>
          <a:spcPct val="20000"/>
        </a:spcBef>
        <a:spcAft>
          <a:spcPct val="0"/>
        </a:spcAft>
        <a:buClrTx/>
        <a:buFont typeface="Trebuchet MS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4pPr>
      <a:lvl5pPr marL="1498960" indent="-165493" algn="l" defTabSz="666734" rtl="0" eaLnBrk="1" fontAlgn="base" hangingPunct="1">
        <a:spcBef>
          <a:spcPct val="20000"/>
        </a:spcBef>
        <a:spcAft>
          <a:spcPct val="0"/>
        </a:spcAft>
        <a:buClrTx/>
        <a:buFont typeface="Trebuchet MS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5pPr>
      <a:lvl6pPr marL="1841851" indent="-165493" algn="l" defTabSz="666734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6pPr>
      <a:lvl7pPr marL="2184743" indent="-165493" algn="l" defTabSz="666734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7pPr>
      <a:lvl8pPr marL="2527634" indent="-165493" algn="l" defTabSz="666734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8pPr>
      <a:lvl9pPr marL="2870525" indent="-165493" algn="l" defTabSz="666734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291314" y="6372536"/>
            <a:ext cx="6473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fld id="{34F92BC6-D7C3-584B-87F2-0B845776A5AD}" type="slidenum">
              <a:rPr lang="en-US" sz="1200" smtClean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l"/>
              <a:t>‹#›</a:t>
            </a:fld>
            <a:r>
              <a:rPr lang="en-US" sz="1200" dirty="0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|</a:t>
            </a:r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90676" y="6333439"/>
            <a:ext cx="57231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>
                <a:solidFill>
                  <a:schemeClr val="accent3">
                    <a:lumMod val="60000"/>
                    <a:lumOff val="4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0999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32EF51-A59B-49D8-B145-C6D2C372DE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4643" y="2129986"/>
            <a:ext cx="8634714" cy="1967879"/>
          </a:xfrm>
        </p:spPr>
        <p:txBody>
          <a:bodyPr/>
          <a:lstStyle/>
          <a:p>
            <a:pPr algn="ctr"/>
            <a:r>
              <a:rPr lang="en-GB" sz="3200" b="1" dirty="0">
                <a:latin typeface="+mn-lt"/>
              </a:rPr>
              <a:t>The Framework for Integrated Care</a:t>
            </a:r>
            <a:br>
              <a:rPr lang="en-GB" sz="3200" b="1" dirty="0">
                <a:latin typeface="+mn-lt"/>
              </a:rPr>
            </a:br>
            <a:r>
              <a:rPr lang="en-GB" sz="3200" b="1" dirty="0">
                <a:latin typeface="+mn-lt"/>
              </a:rPr>
              <a:t>(SECURE STAIRS) 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1608A49-3EB9-493C-B378-62279B28580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4952" y="5416127"/>
            <a:ext cx="6858000" cy="394932"/>
          </a:xfrm>
        </p:spPr>
        <p:txBody>
          <a:bodyPr/>
          <a:lstStyle/>
          <a:p>
            <a:r>
              <a:rPr lang="en-US" sz="1400" b="1" dirty="0">
                <a:solidFill>
                  <a:srgbClr val="0070C0"/>
                </a:solidFill>
                <a:latin typeface="+mn-lt"/>
              </a:rPr>
              <a:t>February 2021</a:t>
            </a: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979" y="279781"/>
            <a:ext cx="1353650" cy="600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58" name="Picture 4" descr="image00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1954" y="279781"/>
            <a:ext cx="600948" cy="600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387461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313706" y="1135886"/>
            <a:ext cx="8650783" cy="4608512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lvl="1" indent="0">
              <a:buNone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A Health and Operational partnership collaboratively delivering SECURE STAIRS training across the secure setting, encompassing the following principles:</a:t>
            </a:r>
          </a:p>
          <a:p>
            <a:pPr marL="0" fontAlgn="ctr">
              <a:lnSpc>
                <a:spcPct val="107000"/>
              </a:lnSpc>
              <a:spcBef>
                <a:spcPts val="0"/>
              </a:spcBef>
            </a:pPr>
            <a:r>
              <a:rPr lang="en-GB" sz="2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SECURE STAIRS Framework</a:t>
            </a: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fontAlgn="ctr">
              <a:lnSpc>
                <a:spcPct val="107000"/>
              </a:lnSpc>
              <a:spcBef>
                <a:spcPts val="0"/>
              </a:spcBef>
            </a:pPr>
            <a:r>
              <a:rPr lang="en-GB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tachment &amp; Developmental Trauma. </a:t>
            </a: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fontAlgn="ctr">
              <a:lnSpc>
                <a:spcPct val="107000"/>
              </a:lnSpc>
              <a:spcBef>
                <a:spcPts val="0"/>
              </a:spcBef>
            </a:pPr>
            <a:r>
              <a:rPr lang="en-GB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ry Interaction Matters: Applying this theory in a secure setting</a:t>
            </a: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fontAlgn="ctr">
              <a:lnSpc>
                <a:spcPct val="107000"/>
              </a:lnSpc>
              <a:spcBef>
                <a:spcPts val="0"/>
              </a:spcBef>
            </a:pPr>
            <a:r>
              <a:rPr lang="en-GB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ild and Adolescent Development</a:t>
            </a: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fontAlgn="ctr">
              <a:lnSpc>
                <a:spcPct val="107000"/>
              </a:lnSpc>
              <a:spcBef>
                <a:spcPts val="0"/>
              </a:spcBef>
            </a:pPr>
            <a:r>
              <a:rPr lang="en-GB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standing Complex Behaviour</a:t>
            </a: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fontAlgn="ctr">
              <a:lnSpc>
                <a:spcPct val="107000"/>
              </a:lnSpc>
              <a:spcBef>
                <a:spcPts val="0"/>
              </a:spcBef>
            </a:pPr>
            <a:r>
              <a:rPr lang="en-GB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liency and Blocked Care</a:t>
            </a: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fontAlgn="ctr">
              <a:lnSpc>
                <a:spcPct val="107000"/>
              </a:lnSpc>
              <a:spcBef>
                <a:spcPts val="0"/>
              </a:spcBef>
            </a:pPr>
            <a:r>
              <a:rPr lang="en-GB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uma Informed Leadership. Understanding Trauma in Organisations</a:t>
            </a: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fontAlgn="ctr">
              <a:lnSpc>
                <a:spcPct val="107000"/>
              </a:lnSpc>
              <a:spcBef>
                <a:spcPts val="0"/>
              </a:spcBef>
            </a:pPr>
            <a:r>
              <a:rPr lang="en-GB" sz="2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rauma Informed Care</a:t>
            </a: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indent="0">
              <a:buNone/>
            </a:pPr>
            <a:endParaRPr lang="en-GB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13705" y="303916"/>
            <a:ext cx="7981124" cy="611649"/>
          </a:xfrm>
        </p:spPr>
        <p:txBody>
          <a:bodyPr>
            <a:normAutofit/>
          </a:bodyPr>
          <a:lstStyle/>
          <a:p>
            <a:r>
              <a:rPr lang="en-GB" sz="2400" b="1" dirty="0"/>
              <a:t>Training</a:t>
            </a:r>
          </a:p>
        </p:txBody>
      </p:sp>
    </p:spTree>
    <p:extLst>
      <p:ext uri="{BB962C8B-B14F-4D97-AF65-F5344CB8AC3E}">
        <p14:creationId xmlns:p14="http://schemas.microsoft.com/office/powerpoint/2010/main" val="10366055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16301" y="312280"/>
            <a:ext cx="7981124" cy="611649"/>
          </a:xfrm>
        </p:spPr>
        <p:txBody>
          <a:bodyPr>
            <a:normAutofit/>
          </a:bodyPr>
          <a:lstStyle/>
          <a:p>
            <a:r>
              <a:rPr lang="en-GB" sz="2400" b="1" dirty="0"/>
              <a:t>Expected Outcomes and Benefit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0E99041-DE82-4EE9-817A-2B2C9A52533E}"/>
              </a:ext>
            </a:extLst>
          </p:cNvPr>
          <p:cNvSpPr/>
          <p:nvPr/>
        </p:nvSpPr>
        <p:spPr>
          <a:xfrm>
            <a:off x="216301" y="968954"/>
            <a:ext cx="867081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here are a number of practical examples of what successful implementation of SECURE STAIRS may look like within the Child and Young Person Secure estate. These include: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6F34CB2-A715-46F6-83EA-60CB5523AB82}"/>
              </a:ext>
            </a:extLst>
          </p:cNvPr>
          <p:cNvSpPr/>
          <p:nvPr/>
        </p:nvSpPr>
        <p:spPr>
          <a:xfrm>
            <a:off x="221265" y="2041461"/>
            <a:ext cx="4064132" cy="38779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increase in…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ff recruitment and staff retention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d CYP resilience and wellbeing.</a:t>
            </a:r>
          </a:p>
          <a:p>
            <a:endParaRPr lang="en-GB" sz="1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ed…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ff Confidence and mora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ff satisfa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ff resilience and wellbeing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ationships and communication between staff and CYP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otional regulation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endParaRPr lang="en-GB" sz="16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/>
            <a:r>
              <a:rPr lang="en-GB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istency of…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ff on residential area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AA03F0E-C3AB-4A67-9EC2-E075852D3B63}"/>
              </a:ext>
            </a:extLst>
          </p:cNvPr>
          <p:cNvSpPr txBox="1">
            <a:spLocks/>
          </p:cNvSpPr>
          <p:nvPr/>
        </p:nvSpPr>
        <p:spPr>
          <a:xfrm>
            <a:off x="4653887" y="2065913"/>
            <a:ext cx="4221075" cy="38535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 baseline="0">
                <a:solidFill>
                  <a:srgbClr val="005EB8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algn="l"/>
            <a:r>
              <a:rPr lang="en-GB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Reduction in…</a:t>
            </a:r>
          </a:p>
          <a:p>
            <a:pPr marL="342900" lvl="1" indent="-342900" algn="l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egiver/system anxiety</a:t>
            </a:r>
          </a:p>
          <a:p>
            <a:pPr marL="342900" lvl="1" indent="-342900" algn="l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ff sickness</a:t>
            </a:r>
          </a:p>
          <a:p>
            <a:pPr marL="342900" lvl="1" indent="-342900" algn="l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number of staff injuries</a:t>
            </a:r>
          </a:p>
          <a:p>
            <a:pPr marL="342900" lvl="1" indent="-342900" algn="l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ment/ unit moves for CYP</a:t>
            </a:r>
          </a:p>
          <a:p>
            <a:pPr marL="342900" lvl="1" indent="-342900" algn="l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equency and severity of high risk behaviours</a:t>
            </a:r>
          </a:p>
          <a:p>
            <a:pPr marL="342900" lvl="1" indent="-342900" algn="l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number of incidents</a:t>
            </a:r>
          </a:p>
          <a:p>
            <a:pPr marL="342900" lvl="1" indent="-342900" algn="l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number of restraints</a:t>
            </a:r>
          </a:p>
          <a:p>
            <a:pPr marL="342900" lvl="1" indent="-342900" algn="l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number of safeguarding referrals</a:t>
            </a:r>
          </a:p>
          <a:p>
            <a:pPr marL="342900" lvl="1" indent="-342900" algn="l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number of self-harm incidents</a:t>
            </a:r>
          </a:p>
          <a:p>
            <a:pPr marL="342900" lvl="1" indent="-342900" algn="l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tal health concerns.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EE53D48-7EE3-44D8-ADA0-A6770B82CC9E}"/>
              </a:ext>
            </a:extLst>
          </p:cNvPr>
          <p:cNvCxnSpPr/>
          <p:nvPr/>
        </p:nvCxnSpPr>
        <p:spPr>
          <a:xfrm>
            <a:off x="4451808" y="2197426"/>
            <a:ext cx="0" cy="361421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750679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 txBox="1">
            <a:spLocks/>
          </p:cNvSpPr>
          <p:nvPr/>
        </p:nvSpPr>
        <p:spPr>
          <a:xfrm>
            <a:off x="251520" y="1115247"/>
            <a:ext cx="8640960" cy="3207164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 sz="1800" b="1" dirty="0"/>
              <a:t>YOI </a:t>
            </a:r>
            <a:r>
              <a:rPr lang="en-GB" sz="1800" b="1" dirty="0" err="1"/>
              <a:t>Cookham</a:t>
            </a:r>
            <a:r>
              <a:rPr lang="en-GB" sz="1800" b="1" dirty="0"/>
              <a:t> Wood - Staff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GB" sz="1600" dirty="0"/>
              <a:t>Healthcare staff appreciating the framework approach “No-one is telling us we have to do it a specific way…. We’ve been given guidance and support but the autonomy to deliver… the culture into something more therapeutic”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GB" sz="1600" dirty="0"/>
              <a:t>Operational staff feeling empowered “I started as a Prison Officer 15 years ago and now I’m on Cedar I’m more than that.”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GB" sz="1600" dirty="0"/>
              <a:t>Buy-in from the highest levels “It filters down from the top. The more I feel trusted and supported, the more I can trust and support the boys.”</a:t>
            </a:r>
          </a:p>
          <a:p>
            <a:pPr marL="0" indent="0">
              <a:spcBef>
                <a:spcPts val="0"/>
              </a:spcBef>
              <a:buNone/>
            </a:pPr>
            <a:endParaRPr lang="en-GB" sz="1800" b="1" dirty="0"/>
          </a:p>
          <a:p>
            <a:pPr marL="0" indent="0">
              <a:spcBef>
                <a:spcPts val="0"/>
              </a:spcBef>
              <a:buNone/>
            </a:pPr>
            <a:r>
              <a:rPr lang="en-GB" sz="1800" b="1" dirty="0"/>
              <a:t>YOI Cookham Wood – Young People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GB" sz="1600" dirty="0"/>
              <a:t>YP’s buying into SECURE STAIRS “it’s the best step forward to help everyone else”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GB" sz="1600" dirty="0"/>
              <a:t>YP’s developing relationships “we come together as a community and we are friends now”.</a:t>
            </a:r>
          </a:p>
          <a:p>
            <a:pPr>
              <a:spcBef>
                <a:spcPts val="0"/>
              </a:spcBef>
            </a:pPr>
            <a:endParaRPr lang="en-GB" sz="1800" dirty="0"/>
          </a:p>
        </p:txBody>
      </p:sp>
      <p:sp>
        <p:nvSpPr>
          <p:cNvPr id="6" name="TextBox 5"/>
          <p:cNvSpPr txBox="1"/>
          <p:nvPr/>
        </p:nvSpPr>
        <p:spPr>
          <a:xfrm>
            <a:off x="424524" y="373882"/>
            <a:ext cx="5623350" cy="4385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5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>
                <a:solidFill>
                  <a:schemeClr val="bg2"/>
                </a:solidFill>
                <a:latin typeface="+mn-lt"/>
              </a:rPr>
              <a:t>Promising Practice in the YOIs to date…</a:t>
            </a:r>
          </a:p>
        </p:txBody>
      </p:sp>
    </p:spTree>
    <p:extLst>
      <p:ext uri="{BB962C8B-B14F-4D97-AF65-F5344CB8AC3E}">
        <p14:creationId xmlns:p14="http://schemas.microsoft.com/office/powerpoint/2010/main" val="39887537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 txBox="1">
            <a:spLocks/>
          </p:cNvSpPr>
          <p:nvPr/>
        </p:nvSpPr>
        <p:spPr>
          <a:xfrm>
            <a:off x="251520" y="996287"/>
            <a:ext cx="8640960" cy="5359822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 sz="1800" b="1" dirty="0"/>
              <a:t>YOI Feltham – Young People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GB" sz="1600" dirty="0"/>
              <a:t>YP feedback from formulation booklet “it will help officers understand [us]”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GB" sz="1600" dirty="0"/>
              <a:t>YP feedback from the ESU “The ESU is caring, supportive and staff are willing to talk about issues if you are… they are trusting people”</a:t>
            </a:r>
          </a:p>
          <a:p>
            <a:pPr marL="0" indent="0">
              <a:spcBef>
                <a:spcPts val="0"/>
              </a:spcBef>
              <a:buNone/>
            </a:pPr>
            <a:endParaRPr lang="en-GB" sz="1600" b="1" dirty="0"/>
          </a:p>
          <a:p>
            <a:pPr marL="0" indent="0">
              <a:spcBef>
                <a:spcPts val="0"/>
              </a:spcBef>
              <a:buNone/>
            </a:pPr>
            <a:r>
              <a:rPr lang="en-GB" sz="1800" b="1" dirty="0"/>
              <a:t>YOI Feltham - Staff</a:t>
            </a:r>
          </a:p>
          <a:p>
            <a:pPr marL="0" indent="0">
              <a:spcBef>
                <a:spcPts val="0"/>
              </a:spcBef>
              <a:buNone/>
            </a:pPr>
            <a:endParaRPr lang="en-GB" sz="1600" dirty="0"/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/>
              <a:t>Officer feedback from guided reflective practice: </a:t>
            </a:r>
          </a:p>
          <a:p>
            <a:pPr>
              <a:spcBef>
                <a:spcPts val="0"/>
              </a:spcBef>
            </a:pPr>
            <a:r>
              <a:rPr lang="en-GB" sz="1600" dirty="0"/>
              <a:t>“I got the chance to offload” </a:t>
            </a:r>
          </a:p>
          <a:p>
            <a:pPr>
              <a:spcBef>
                <a:spcPts val="0"/>
              </a:spcBef>
            </a:pPr>
            <a:r>
              <a:rPr lang="en-GB" sz="1600" dirty="0"/>
              <a:t>“It helped to learn from different people’s experiences”</a:t>
            </a:r>
          </a:p>
          <a:p>
            <a:pPr>
              <a:spcBef>
                <a:spcPts val="0"/>
              </a:spcBef>
            </a:pPr>
            <a:r>
              <a:rPr lang="en-GB" sz="1600" dirty="0"/>
              <a:t>“It helped me to see things in a different light”</a:t>
            </a:r>
          </a:p>
          <a:p>
            <a:pPr marL="0" indent="0">
              <a:spcBef>
                <a:spcPts val="0"/>
              </a:spcBef>
              <a:buNone/>
            </a:pPr>
            <a:endParaRPr lang="en-GB" sz="1600" dirty="0"/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/>
              <a:t>Officer feedback from the ESU: </a:t>
            </a:r>
          </a:p>
          <a:p>
            <a:pPr>
              <a:spcBef>
                <a:spcPts val="0"/>
              </a:spcBef>
            </a:pPr>
            <a:r>
              <a:rPr lang="en-GB" sz="1600" dirty="0"/>
              <a:t>“for the first time in 23 years I know what I’m doing is making a difference and I believe in it”</a:t>
            </a:r>
          </a:p>
          <a:p>
            <a:pPr>
              <a:spcBef>
                <a:spcPts val="0"/>
              </a:spcBef>
            </a:pPr>
            <a:r>
              <a:rPr lang="en-GB" sz="1600" dirty="0"/>
              <a:t>“it can be daunting at times… but I know I’m doing the right thing”</a:t>
            </a:r>
          </a:p>
          <a:p>
            <a:pPr marL="0" indent="0">
              <a:spcBef>
                <a:spcPts val="0"/>
              </a:spcBef>
              <a:buNone/>
            </a:pPr>
            <a:endParaRPr lang="en-GB" sz="1600" dirty="0"/>
          </a:p>
          <a:p>
            <a:pPr marL="0" indent="0">
              <a:spcBef>
                <a:spcPts val="0"/>
              </a:spcBef>
              <a:buNone/>
            </a:pPr>
            <a:r>
              <a:rPr lang="en-GB" sz="1600" dirty="0"/>
              <a:t>Feedback from specialist training:</a:t>
            </a:r>
          </a:p>
          <a:p>
            <a:pPr>
              <a:spcBef>
                <a:spcPts val="0"/>
              </a:spcBef>
            </a:pPr>
            <a:r>
              <a:rPr lang="en-GB" sz="1600" dirty="0"/>
              <a:t>“It helped me to understand the reason behind the behaviour of YPs”</a:t>
            </a:r>
          </a:p>
          <a:p>
            <a:pPr>
              <a:spcBef>
                <a:spcPts val="0"/>
              </a:spcBef>
            </a:pPr>
            <a:r>
              <a:rPr lang="en-GB" sz="1600" dirty="0"/>
              <a:t>The training will “help me to learn to be more patient when dealing with YP”</a:t>
            </a:r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n-GB" sz="1600" b="1" dirty="0"/>
          </a:p>
          <a:p>
            <a:pPr>
              <a:spcBef>
                <a:spcPts val="0"/>
              </a:spcBef>
            </a:pPr>
            <a:endParaRPr lang="en-GB" sz="1600" dirty="0"/>
          </a:p>
        </p:txBody>
      </p:sp>
      <p:sp>
        <p:nvSpPr>
          <p:cNvPr id="6" name="TextBox 5"/>
          <p:cNvSpPr txBox="1"/>
          <p:nvPr/>
        </p:nvSpPr>
        <p:spPr>
          <a:xfrm>
            <a:off x="424524" y="373882"/>
            <a:ext cx="5623350" cy="4385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5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>
                <a:solidFill>
                  <a:schemeClr val="bg2"/>
                </a:solidFill>
                <a:latin typeface="+mn-lt"/>
              </a:rPr>
              <a:t>Promising Practice in the YOIs to date…</a:t>
            </a:r>
          </a:p>
        </p:txBody>
      </p:sp>
    </p:spTree>
    <p:extLst>
      <p:ext uri="{BB962C8B-B14F-4D97-AF65-F5344CB8AC3E}">
        <p14:creationId xmlns:p14="http://schemas.microsoft.com/office/powerpoint/2010/main" val="24455444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 txBox="1">
            <a:spLocks/>
          </p:cNvSpPr>
          <p:nvPr/>
        </p:nvSpPr>
        <p:spPr>
          <a:xfrm>
            <a:off x="251520" y="1437021"/>
            <a:ext cx="8640960" cy="2700299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 sz="1800" b="1" dirty="0"/>
              <a:t>YOI Werrington – Former Governing Governor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GB" sz="1600" dirty="0"/>
              <a:t>‘Getting the resources we need’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GB" sz="1600" dirty="0"/>
              <a:t>‘Good to see the culture beginning to change and everyone using the same language’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GB" sz="1600" dirty="0"/>
              <a:t>I was told ‘No Governor, that’s not in the Plan’. They were prepared to challenge me and stay with the formulation which had been developed collaboratively for that individual.</a:t>
            </a:r>
          </a:p>
          <a:p>
            <a:pPr>
              <a:spcBef>
                <a:spcPts val="0"/>
              </a:spcBef>
            </a:pPr>
            <a:endParaRPr lang="en-GB" sz="1800" dirty="0"/>
          </a:p>
        </p:txBody>
      </p:sp>
      <p:sp>
        <p:nvSpPr>
          <p:cNvPr id="6" name="TextBox 5"/>
          <p:cNvSpPr txBox="1"/>
          <p:nvPr/>
        </p:nvSpPr>
        <p:spPr>
          <a:xfrm>
            <a:off x="424524" y="373882"/>
            <a:ext cx="5623350" cy="4385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5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>
                <a:solidFill>
                  <a:schemeClr val="bg2"/>
                </a:solidFill>
                <a:latin typeface="+mn-lt"/>
              </a:rPr>
              <a:t>Promising Practice in the YOIs to date…</a:t>
            </a:r>
          </a:p>
        </p:txBody>
      </p:sp>
    </p:spTree>
    <p:extLst>
      <p:ext uri="{BB962C8B-B14F-4D97-AF65-F5344CB8AC3E}">
        <p14:creationId xmlns:p14="http://schemas.microsoft.com/office/powerpoint/2010/main" val="179720137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4">
            <a:extLst>
              <a:ext uri="{FF2B5EF4-FFF2-40B4-BE49-F238E27FC236}">
                <a16:creationId xmlns:a16="http://schemas.microsoft.com/office/drawing/2014/main" id="{8889CE5C-9238-4DB0-9A47-1B0E94B2C9C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50627" y="1005337"/>
            <a:ext cx="8642747" cy="50475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GB" b="1" dirty="0"/>
              <a:t>Relationships between staff and children and young people:</a:t>
            </a:r>
          </a:p>
          <a:p>
            <a:pPr>
              <a:spcBef>
                <a:spcPts val="600"/>
              </a:spcBef>
            </a:pPr>
            <a:r>
              <a:rPr lang="en-GB" b="1" dirty="0"/>
              <a:t>Trust</a:t>
            </a:r>
            <a:r>
              <a:rPr lang="en-GB" dirty="0"/>
              <a:t> and </a:t>
            </a:r>
            <a:r>
              <a:rPr lang="en-GB" b="1" dirty="0"/>
              <a:t>consistency of staff </a:t>
            </a:r>
            <a:r>
              <a:rPr lang="en-GB" dirty="0"/>
              <a:t>seemed to be discussed in an intrinsic way</a:t>
            </a:r>
          </a:p>
          <a:p>
            <a:pPr>
              <a:spcBef>
                <a:spcPts val="600"/>
              </a:spcBef>
            </a:pPr>
            <a:r>
              <a:rPr lang="en-GB" b="1" dirty="0"/>
              <a:t>Feeling safe </a:t>
            </a:r>
            <a:r>
              <a:rPr lang="en-GB" dirty="0"/>
              <a:t>was also a key feature of </a:t>
            </a:r>
            <a:r>
              <a:rPr lang="en-GB" b="1" dirty="0"/>
              <a:t>trust</a:t>
            </a:r>
            <a:r>
              <a:rPr lang="en-GB" dirty="0"/>
              <a:t> in relationships between CYP and staff </a:t>
            </a:r>
          </a:p>
          <a:p>
            <a:pPr>
              <a:spcBef>
                <a:spcPts val="600"/>
              </a:spcBef>
            </a:pPr>
            <a:r>
              <a:rPr lang="en-GB" b="1" dirty="0"/>
              <a:t>Consistency</a:t>
            </a:r>
            <a:r>
              <a:rPr lang="en-GB" dirty="0"/>
              <a:t> and staff </a:t>
            </a:r>
            <a:r>
              <a:rPr lang="en-GB" b="1" dirty="0"/>
              <a:t>job satisfaction</a:t>
            </a:r>
            <a:r>
              <a:rPr lang="en-GB" dirty="0"/>
              <a:t> were often referenced together.</a:t>
            </a:r>
            <a:endParaRPr lang="en-GB" b="1" dirty="0"/>
          </a:p>
          <a:p>
            <a:pPr marL="0" indent="0">
              <a:spcBef>
                <a:spcPts val="1200"/>
              </a:spcBef>
              <a:spcAft>
                <a:spcPts val="600"/>
              </a:spcAft>
              <a:buNone/>
            </a:pPr>
            <a:r>
              <a:rPr lang="en-GB" b="1" dirty="0"/>
              <a:t>Understanding the children through Formulation:</a:t>
            </a:r>
            <a:endParaRPr lang="en-GB" dirty="0"/>
          </a:p>
          <a:p>
            <a:pPr>
              <a:spcBef>
                <a:spcPts val="0"/>
              </a:spcBef>
            </a:pPr>
            <a:r>
              <a:rPr lang="en-GB" i="1" dirty="0"/>
              <a:t>“I went to last week and I found that absolutely fascinating because what I thought I knew about that young person and then what they were voicing weren’t the same thing. So </a:t>
            </a:r>
            <a:r>
              <a:rPr lang="en-GB" b="1" i="1" dirty="0"/>
              <a:t>I did actually learn so much more with that young person being in the room </a:t>
            </a:r>
            <a:r>
              <a:rPr lang="en-GB" i="1" dirty="0"/>
              <a:t>and taking part in it.” (SCH)</a:t>
            </a:r>
          </a:p>
          <a:p>
            <a:pPr>
              <a:spcBef>
                <a:spcPts val="600"/>
              </a:spcBef>
            </a:pPr>
            <a:r>
              <a:rPr lang="en-GB" i="1" dirty="0"/>
              <a:t>“</a:t>
            </a:r>
            <a:r>
              <a:rPr lang="en-GB" b="1" i="1" dirty="0"/>
              <a:t>Young people </a:t>
            </a:r>
            <a:r>
              <a:rPr lang="en-GB" i="1" dirty="0"/>
              <a:t>by coming to the [formulation] meeting </a:t>
            </a:r>
            <a:r>
              <a:rPr lang="en-GB" b="1" i="1" dirty="0"/>
              <a:t>can actually see that staff do care </a:t>
            </a:r>
            <a:r>
              <a:rPr lang="en-GB" i="1" dirty="0"/>
              <a:t>and are actually interested in listening to their story and their journey. (SCH)</a:t>
            </a:r>
          </a:p>
          <a:p>
            <a:pPr marL="0" indent="0">
              <a:spcBef>
                <a:spcPts val="1200"/>
              </a:spcBef>
              <a:spcAft>
                <a:spcPts val="600"/>
              </a:spcAft>
              <a:buNone/>
            </a:pPr>
            <a:r>
              <a:rPr lang="en-GB" b="1" dirty="0"/>
              <a:t>Formulation Based Care Plans:</a:t>
            </a:r>
          </a:p>
          <a:p>
            <a:pPr>
              <a:spcBef>
                <a:spcPts val="0"/>
              </a:spcBef>
            </a:pPr>
            <a:r>
              <a:rPr lang="en-GB" i="1" dirty="0"/>
              <a:t>“I think we see a lot more individualised education plans for example, which maybe me, personally, I didn’t see as much. Not just education, but management plans, behaviour support plans, I think it’s </a:t>
            </a:r>
            <a:r>
              <a:rPr lang="en-GB" b="1" i="1" dirty="0"/>
              <a:t>a lot more collaborative</a:t>
            </a:r>
            <a:r>
              <a:rPr lang="en-GB" i="1" dirty="0"/>
              <a:t>, it’s a lot more </a:t>
            </a:r>
            <a:r>
              <a:rPr lang="en-GB" b="1" i="1" dirty="0"/>
              <a:t>individualised towards the young person</a:t>
            </a:r>
            <a:r>
              <a:rPr lang="en-GB" i="1" dirty="0"/>
              <a:t>.” (YOI/STC)</a:t>
            </a:r>
            <a:endParaRPr lang="en-GB" b="1" dirty="0"/>
          </a:p>
          <a:p>
            <a:pPr marL="0" indent="0">
              <a:spcBef>
                <a:spcPts val="1200"/>
              </a:spcBef>
              <a:spcAft>
                <a:spcPts val="600"/>
              </a:spcAft>
              <a:buNone/>
            </a:pPr>
            <a:r>
              <a:rPr lang="en-GB" b="1" dirty="0"/>
              <a:t>Consistency of staffing:</a:t>
            </a:r>
          </a:p>
          <a:p>
            <a:pPr>
              <a:spcBef>
                <a:spcPts val="0"/>
              </a:spcBef>
            </a:pPr>
            <a:r>
              <a:rPr lang="en-GB" dirty="0"/>
              <a:t>“</a:t>
            </a:r>
            <a:r>
              <a:rPr lang="en-GB" i="1" dirty="0"/>
              <a:t>We're [healthcare team] </a:t>
            </a:r>
            <a:r>
              <a:rPr lang="en-GB" b="1" i="1" dirty="0"/>
              <a:t>embedded on units</a:t>
            </a:r>
            <a:r>
              <a:rPr lang="en-GB" i="1" dirty="0"/>
              <a:t>, so </a:t>
            </a:r>
            <a:r>
              <a:rPr lang="en-GB" b="1" i="1" dirty="0"/>
              <a:t>I think that definitely,</a:t>
            </a:r>
            <a:r>
              <a:rPr lang="en-GB" i="1" dirty="0"/>
              <a:t> from my personal opinion, </a:t>
            </a:r>
            <a:r>
              <a:rPr lang="en-GB" b="1" i="1" dirty="0"/>
              <a:t>has improved my relationships with young people on my residential unit</a:t>
            </a:r>
            <a:r>
              <a:rPr lang="en-GB" dirty="0"/>
              <a:t>.” (YOI/STC). </a:t>
            </a:r>
          </a:p>
          <a:p>
            <a:pPr>
              <a:spcBef>
                <a:spcPts val="600"/>
              </a:spcBef>
            </a:pPr>
            <a:r>
              <a:rPr lang="en-GB" i="1" dirty="0"/>
              <a:t>“I’ve noticed a general warming up of </a:t>
            </a:r>
            <a:r>
              <a:rPr lang="en-GB" b="1" i="1" dirty="0"/>
              <a:t>relationships</a:t>
            </a:r>
            <a:r>
              <a:rPr lang="en-GB" i="1" dirty="0"/>
              <a:t> from getting to know people […] and colleagues have said the same thing” (YOI/STC)</a:t>
            </a:r>
            <a:endParaRPr lang="en-GB" dirty="0"/>
          </a:p>
          <a:p>
            <a:pPr marL="0" indent="0">
              <a:spcBef>
                <a:spcPts val="0"/>
              </a:spcBef>
              <a:buNone/>
            </a:pPr>
            <a:endParaRPr lang="en-GB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13B6320-BF32-4373-AEA5-0FB964A8EF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0085" y="255759"/>
            <a:ext cx="7981124" cy="611649"/>
          </a:xfrm>
        </p:spPr>
        <p:txBody>
          <a:bodyPr>
            <a:noAutofit/>
          </a:bodyPr>
          <a:lstStyle/>
          <a:p>
            <a:pPr lvl="0">
              <a:defRPr/>
            </a:pPr>
            <a:r>
              <a:rPr lang="en-GB" sz="1800" b="1" dirty="0"/>
              <a:t>The voice of staff and children and young people</a:t>
            </a:r>
            <a:br>
              <a:rPr lang="en-GB" sz="1800" b="1" dirty="0"/>
            </a:br>
            <a:r>
              <a:rPr lang="en-GB" sz="1800" b="1" dirty="0"/>
              <a:t>from the AFNCCF Independent Evaluation</a:t>
            </a:r>
            <a:br>
              <a:rPr lang="en-GB" sz="1800" b="1" dirty="0"/>
            </a:br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6879231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43743" y="166593"/>
            <a:ext cx="8533249" cy="667725"/>
          </a:xfrm>
        </p:spPr>
        <p:txBody>
          <a:bodyPr>
            <a:noAutofit/>
          </a:bodyPr>
          <a:lstStyle/>
          <a:p>
            <a:r>
              <a:rPr lang="en-GB" sz="2400" b="1" dirty="0"/>
              <a:t>The Framework for Integrated Care</a:t>
            </a:r>
            <a:br>
              <a:rPr lang="en-GB" sz="2400" b="1" dirty="0"/>
            </a:br>
            <a:r>
              <a:rPr lang="en-GB" sz="2400" b="1" dirty="0"/>
              <a:t>(SECURE STAIRS)</a:t>
            </a:r>
          </a:p>
        </p:txBody>
      </p:sp>
      <p:sp>
        <p:nvSpPr>
          <p:cNvPr id="6" name="Rectangle 5"/>
          <p:cNvSpPr/>
          <p:nvPr/>
        </p:nvSpPr>
        <p:spPr>
          <a:xfrm>
            <a:off x="341713" y="1000229"/>
            <a:ext cx="8435279" cy="55399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SECURE STAIRS is being delivered in partnership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NHS England and NHS Improvement (NHSE&amp;I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Her Majesty’s Prison and Probation Service (HMPPS) Youth Custody Service (YCS)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Department for Education (DfE) </a:t>
            </a:r>
          </a:p>
          <a:p>
            <a:endParaRPr lang="en-GB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The Framework for Integrated Care. A Revised Approach: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whole system approach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to integrated care within the CYPSE</a:t>
            </a:r>
            <a:endParaRPr lang="en-GB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Embedded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 (rather than ‘in-reach’) mental health staff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Consistency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 of staffing on residential un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Multi-disciplinary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 working through the unit based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Support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Teams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, including Education as a core memb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Young people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co-produce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their formulation (my stor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Front line staff as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primary facilitators of chan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Collaboratively developed formulations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 recorded on a shared care record, used by all professionals within the multi-disciplinary Support Team and </a:t>
            </a:r>
            <a:r>
              <a:rPr lang="en-GB" b="1" u="sng" dirty="0">
                <a:latin typeface="Arial" panose="020B0604020202020204" pitchFamily="34" charset="0"/>
                <a:cs typeface="Arial" panose="020B0604020202020204" pitchFamily="34" charset="0"/>
              </a:rPr>
              <a:t>underpinning all Plans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dirty="0"/>
          </a:p>
          <a:p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42826596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31608A49-3EB9-493C-B378-62279B28580E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b="1" dirty="0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b="1" dirty="0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AD911BF0-1243-4118-A272-BA181215284C}"/>
              </a:ext>
            </a:extLst>
          </p:cNvPr>
          <p:cNvSpPr txBox="1">
            <a:spLocks/>
          </p:cNvSpPr>
          <p:nvPr/>
        </p:nvSpPr>
        <p:spPr>
          <a:xfrm>
            <a:off x="275735" y="348439"/>
            <a:ext cx="6071868" cy="61164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baseline="0">
                <a:solidFill>
                  <a:srgbClr val="005EB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GB" sz="2400" b="1" dirty="0"/>
              <a:t>SECURE Foundation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E10DFCC-1903-4DD0-88C5-6F9225DF08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5910" y="1252540"/>
            <a:ext cx="8065827" cy="4352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39590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31608A49-3EB9-493C-B378-62279B28580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5180" y="1717868"/>
            <a:ext cx="7737674" cy="224412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b="1" dirty="0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b="1" dirty="0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dirty="0"/>
          </a:p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32EF51-A59B-49D8-B145-C6D2C372DE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190" y="922704"/>
            <a:ext cx="6567055" cy="611649"/>
          </a:xfrm>
        </p:spPr>
        <p:txBody>
          <a:bodyPr/>
          <a:lstStyle/>
          <a:p>
            <a:br>
              <a:rPr lang="en-GB" dirty="0"/>
            </a:br>
            <a:endParaRPr lang="en-GB" sz="2800" dirty="0"/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AD911BF0-1243-4118-A272-BA181215284C}"/>
              </a:ext>
            </a:extLst>
          </p:cNvPr>
          <p:cNvSpPr txBox="1">
            <a:spLocks/>
          </p:cNvSpPr>
          <p:nvPr/>
        </p:nvSpPr>
        <p:spPr>
          <a:xfrm>
            <a:off x="372413" y="328124"/>
            <a:ext cx="6567055" cy="61164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baseline="0">
                <a:solidFill>
                  <a:srgbClr val="005EB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5EB8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IRS – Shared Understanding</a:t>
            </a:r>
          </a:p>
        </p:txBody>
      </p:sp>
      <p:graphicFrame>
        <p:nvGraphicFramePr>
          <p:cNvPr id="6" name="Content Placeholder 7">
            <a:extLst>
              <a:ext uri="{FF2B5EF4-FFF2-40B4-BE49-F238E27FC236}">
                <a16:creationId xmlns:a16="http://schemas.microsoft.com/office/drawing/2014/main" id="{B92AF2B0-14B3-46F0-AFB6-8E1340274E3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72938404"/>
              </p:ext>
            </p:extLst>
          </p:nvPr>
        </p:nvGraphicFramePr>
        <p:xfrm>
          <a:off x="112543" y="882205"/>
          <a:ext cx="8806374" cy="51218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5746805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18154" y="341927"/>
            <a:ext cx="8597246" cy="667725"/>
          </a:xfrm>
        </p:spPr>
        <p:txBody>
          <a:bodyPr>
            <a:normAutofit/>
          </a:bodyPr>
          <a:lstStyle/>
          <a:p>
            <a:r>
              <a:rPr lang="en-GB" sz="2400" b="1" dirty="0"/>
              <a:t>SECURE STAIRS Key Principles</a:t>
            </a:r>
          </a:p>
        </p:txBody>
      </p:sp>
      <p:sp>
        <p:nvSpPr>
          <p:cNvPr id="6" name="Rectangle 5"/>
          <p:cNvSpPr/>
          <p:nvPr/>
        </p:nvSpPr>
        <p:spPr>
          <a:xfrm>
            <a:off x="457202" y="1012912"/>
            <a:ext cx="8229599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>
                <a:latin typeface="Arial" panose="020B0604020202020204" pitchFamily="34" charset="0"/>
                <a:cs typeface="Arial" panose="020B0604020202020204" pitchFamily="34" charset="0"/>
              </a:rPr>
              <a:t>SECURE - </a:t>
            </a: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Foundations of a whole system approach, based on trauma/attachment model that promotes residential staff as primary facilitators of change (‘therapeutic parents’).</a:t>
            </a:r>
          </a:p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Training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1:1 Guided Reflective Practice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Group Reflective Practice (Support Team)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Every Interactions Matters</a:t>
            </a:r>
          </a:p>
          <a:p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2000" b="1" dirty="0">
                <a:latin typeface="Arial" panose="020B0604020202020204" pitchFamily="34" charset="0"/>
                <a:cs typeface="Arial" panose="020B0604020202020204" pitchFamily="34" charset="0"/>
              </a:rPr>
              <a:t>STAIRS - </a:t>
            </a: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Psychologically informed, developmentally attuned approach to each child and young person. underpinned by a framework that draws upon a multiple theoretical base.</a:t>
            </a:r>
          </a:p>
          <a:p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Collaborative, trauma and psychologically informed care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Formulation: all understanding the child’s narrative/ story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Formulation based care planning.</a:t>
            </a:r>
          </a:p>
        </p:txBody>
      </p:sp>
    </p:spTree>
    <p:extLst>
      <p:ext uri="{BB962C8B-B14F-4D97-AF65-F5344CB8AC3E}">
        <p14:creationId xmlns:p14="http://schemas.microsoft.com/office/powerpoint/2010/main" val="7165564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89B972-8FA1-4435-AFB1-483285DD91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6951" y="260805"/>
            <a:ext cx="7981124" cy="611649"/>
          </a:xfrm>
        </p:spPr>
        <p:txBody>
          <a:bodyPr>
            <a:normAutofit/>
          </a:bodyPr>
          <a:lstStyle/>
          <a:p>
            <a:r>
              <a:rPr lang="en-GB" sz="2400" b="1" dirty="0"/>
              <a:t>What is Formulation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CC3AF73-966D-46D1-A8EC-EB5A6D065EEE}"/>
              </a:ext>
            </a:extLst>
          </p:cNvPr>
          <p:cNvSpPr txBox="1"/>
          <p:nvPr/>
        </p:nvSpPr>
        <p:spPr>
          <a:xfrm>
            <a:off x="4618824" y="4776476"/>
            <a:ext cx="395066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i="1" dirty="0"/>
              <a:t>‘The perfect composition:</a:t>
            </a:r>
            <a:endParaRPr lang="en-GB" sz="1600" dirty="0"/>
          </a:p>
          <a:p>
            <a:r>
              <a:rPr lang="en-GB" sz="1600" i="1" dirty="0"/>
              <a:t>The theoretical heads, the empathic hearts and the hands of all those involved in the person’s care’. (Steve </a:t>
            </a:r>
            <a:r>
              <a:rPr lang="en-GB" sz="1600" i="1" dirty="0" err="1"/>
              <a:t>Onyett</a:t>
            </a:r>
            <a:r>
              <a:rPr lang="en-GB" sz="1600" i="1" dirty="0"/>
              <a:t>, 2012)</a:t>
            </a:r>
            <a:endParaRPr lang="en-GB" sz="16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06B44D7-860C-4296-AB17-0C3FCF322EBF}"/>
              </a:ext>
            </a:extLst>
          </p:cNvPr>
          <p:cNvSpPr txBox="1"/>
          <p:nvPr/>
        </p:nvSpPr>
        <p:spPr>
          <a:xfrm>
            <a:off x="4903370" y="1056393"/>
            <a:ext cx="405921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i="1" dirty="0"/>
              <a:t>‘Team formulation is the most powerful strategy for shifting cultures… Understanding… the person behind the diagnosis and allowing individual stories to be heard.’ (Lucy Johnstone – clinical psychologist)</a:t>
            </a:r>
            <a:endParaRPr lang="en-GB" sz="16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FC5555A-3FAE-4DC5-9B24-860EF72821FD}"/>
              </a:ext>
            </a:extLst>
          </p:cNvPr>
          <p:cNvSpPr txBox="1"/>
          <p:nvPr/>
        </p:nvSpPr>
        <p:spPr>
          <a:xfrm>
            <a:off x="3059834" y="2921525"/>
            <a:ext cx="406896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600" i="1" dirty="0"/>
              <a:t>‘Team formulation can provide the structure, containment and emotional support that enables staff to acknowledge the emotional pain and trauma behind the labels’</a:t>
            </a:r>
          </a:p>
          <a:p>
            <a:pPr algn="r"/>
            <a:r>
              <a:rPr lang="en-GB" sz="1600" i="1" dirty="0"/>
              <a:t>(</a:t>
            </a:r>
            <a:r>
              <a:rPr lang="en-GB" sz="1600" dirty="0"/>
              <a:t>Clarke, Johnstone et al)</a:t>
            </a:r>
            <a:endParaRPr lang="en-GB" sz="1600" i="1" dirty="0"/>
          </a:p>
        </p:txBody>
      </p:sp>
      <p:grpSp>
        <p:nvGrpSpPr>
          <p:cNvPr id="12" name="Group 11"/>
          <p:cNvGrpSpPr/>
          <p:nvPr/>
        </p:nvGrpSpPr>
        <p:grpSpPr>
          <a:xfrm>
            <a:off x="174169" y="1260545"/>
            <a:ext cx="2950028" cy="4635566"/>
            <a:chOff x="431684" y="1584334"/>
            <a:chExt cx="3960869" cy="4208464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D20095F-FEBF-4837-A166-8283F6B83BD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192" r="10473"/>
            <a:stretch/>
          </p:blipFill>
          <p:spPr>
            <a:xfrm>
              <a:off x="431684" y="1584334"/>
              <a:ext cx="3960869" cy="4208464"/>
            </a:xfrm>
            <a:prstGeom prst="rect">
              <a:avLst/>
            </a:prstGeom>
          </p:spPr>
        </p:pic>
        <p:grpSp>
          <p:nvGrpSpPr>
            <p:cNvPr id="3" name="Group 2"/>
            <p:cNvGrpSpPr>
              <a:grpSpLocks/>
            </p:cNvGrpSpPr>
            <p:nvPr/>
          </p:nvGrpSpPr>
          <p:grpSpPr bwMode="auto">
            <a:xfrm>
              <a:off x="1298923" y="1765242"/>
              <a:ext cx="2213234" cy="1935354"/>
              <a:chOff x="105" y="763"/>
              <a:chExt cx="2736" cy="2395"/>
            </a:xfrm>
          </p:grpSpPr>
          <p:sp>
            <p:nvSpPr>
              <p:cNvPr id="4" name="Puzzle3"/>
              <p:cNvSpPr>
                <a:spLocks noEditPoints="1" noChangeArrowheads="1"/>
              </p:cNvSpPr>
              <p:nvPr/>
            </p:nvSpPr>
            <p:spPr bwMode="auto">
              <a:xfrm>
                <a:off x="1401" y="763"/>
                <a:ext cx="1114" cy="1514"/>
              </a:xfrm>
              <a:custGeom>
                <a:avLst/>
                <a:gdLst>
                  <a:gd name="T0" fmla="*/ 10391 w 21600"/>
                  <a:gd name="T1" fmla="*/ 15806 h 21600"/>
                  <a:gd name="T2" fmla="*/ 20551 w 21600"/>
                  <a:gd name="T3" fmla="*/ 21088 h 21600"/>
                  <a:gd name="T4" fmla="*/ 13180 w 21600"/>
                  <a:gd name="T5" fmla="*/ 13801 h 21600"/>
                  <a:gd name="T6" fmla="*/ 20551 w 21600"/>
                  <a:gd name="T7" fmla="*/ 7025 h 21600"/>
                  <a:gd name="T8" fmla="*/ 10500 w 21600"/>
                  <a:gd name="T9" fmla="*/ 52 h 21600"/>
                  <a:gd name="T10" fmla="*/ 692 w 21600"/>
                  <a:gd name="T11" fmla="*/ 6802 h 21600"/>
                  <a:gd name="T12" fmla="*/ 8064 w 21600"/>
                  <a:gd name="T13" fmla="*/ 13526 h 21600"/>
                  <a:gd name="T14" fmla="*/ 692 w 21600"/>
                  <a:gd name="T15" fmla="*/ 21088 h 21600"/>
                  <a:gd name="T16" fmla="*/ 2273 w 21600"/>
                  <a:gd name="T17" fmla="*/ 7719 h 21600"/>
                  <a:gd name="T18" fmla="*/ 19149 w 21600"/>
                  <a:gd name="T19" fmla="*/ 20237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T16" t="T17" r="T18" b="T19"/>
                <a:pathLst>
                  <a:path w="21600" h="21600">
                    <a:moveTo>
                      <a:pt x="6625" y="20892"/>
                    </a:moveTo>
                    <a:lnTo>
                      <a:pt x="7105" y="21023"/>
                    </a:lnTo>
                    <a:lnTo>
                      <a:pt x="7513" y="21088"/>
                    </a:lnTo>
                    <a:lnTo>
                      <a:pt x="7922" y="21115"/>
                    </a:lnTo>
                    <a:lnTo>
                      <a:pt x="8242" y="21115"/>
                    </a:lnTo>
                    <a:lnTo>
                      <a:pt x="8544" y="21062"/>
                    </a:lnTo>
                    <a:lnTo>
                      <a:pt x="8810" y="20997"/>
                    </a:lnTo>
                    <a:lnTo>
                      <a:pt x="9023" y="20892"/>
                    </a:lnTo>
                    <a:lnTo>
                      <a:pt x="9148" y="20761"/>
                    </a:lnTo>
                    <a:lnTo>
                      <a:pt x="9290" y="20616"/>
                    </a:lnTo>
                    <a:lnTo>
                      <a:pt x="9361" y="20459"/>
                    </a:lnTo>
                    <a:lnTo>
                      <a:pt x="9396" y="20289"/>
                    </a:lnTo>
                    <a:lnTo>
                      <a:pt x="9396" y="20092"/>
                    </a:lnTo>
                    <a:lnTo>
                      <a:pt x="9325" y="19909"/>
                    </a:lnTo>
                    <a:lnTo>
                      <a:pt x="9219" y="19738"/>
                    </a:lnTo>
                    <a:lnTo>
                      <a:pt x="9094" y="19555"/>
                    </a:lnTo>
                    <a:lnTo>
                      <a:pt x="8917" y="19384"/>
                    </a:lnTo>
                    <a:lnTo>
                      <a:pt x="8650" y="19162"/>
                    </a:lnTo>
                    <a:lnTo>
                      <a:pt x="8437" y="18900"/>
                    </a:lnTo>
                    <a:lnTo>
                      <a:pt x="8277" y="18624"/>
                    </a:lnTo>
                    <a:lnTo>
                      <a:pt x="8135" y="18349"/>
                    </a:lnTo>
                    <a:lnTo>
                      <a:pt x="8028" y="18048"/>
                    </a:lnTo>
                    <a:lnTo>
                      <a:pt x="7993" y="17746"/>
                    </a:lnTo>
                    <a:lnTo>
                      <a:pt x="7993" y="17471"/>
                    </a:lnTo>
                    <a:lnTo>
                      <a:pt x="8028" y="17169"/>
                    </a:lnTo>
                    <a:lnTo>
                      <a:pt x="8135" y="16920"/>
                    </a:lnTo>
                    <a:lnTo>
                      <a:pt x="8277" y="16671"/>
                    </a:lnTo>
                    <a:lnTo>
                      <a:pt x="8366" y="16540"/>
                    </a:lnTo>
                    <a:lnTo>
                      <a:pt x="8473" y="16409"/>
                    </a:lnTo>
                    <a:lnTo>
                      <a:pt x="8615" y="16317"/>
                    </a:lnTo>
                    <a:lnTo>
                      <a:pt x="8739" y="16213"/>
                    </a:lnTo>
                    <a:lnTo>
                      <a:pt x="8881" y="16134"/>
                    </a:lnTo>
                    <a:lnTo>
                      <a:pt x="9059" y="16055"/>
                    </a:lnTo>
                    <a:lnTo>
                      <a:pt x="9254" y="15990"/>
                    </a:lnTo>
                    <a:lnTo>
                      <a:pt x="9432" y="15911"/>
                    </a:lnTo>
                    <a:lnTo>
                      <a:pt x="9663" y="15885"/>
                    </a:lnTo>
                    <a:lnTo>
                      <a:pt x="9876" y="15833"/>
                    </a:lnTo>
                    <a:lnTo>
                      <a:pt x="10142" y="15806"/>
                    </a:lnTo>
                    <a:lnTo>
                      <a:pt x="10391" y="15806"/>
                    </a:lnTo>
                    <a:lnTo>
                      <a:pt x="10728" y="15806"/>
                    </a:lnTo>
                    <a:lnTo>
                      <a:pt x="10995" y="15806"/>
                    </a:lnTo>
                    <a:lnTo>
                      <a:pt x="11279" y="15833"/>
                    </a:lnTo>
                    <a:lnTo>
                      <a:pt x="11546" y="15885"/>
                    </a:lnTo>
                    <a:lnTo>
                      <a:pt x="11776" y="15937"/>
                    </a:lnTo>
                    <a:lnTo>
                      <a:pt x="12025" y="15990"/>
                    </a:lnTo>
                    <a:lnTo>
                      <a:pt x="12221" y="16055"/>
                    </a:lnTo>
                    <a:lnTo>
                      <a:pt x="12434" y="16134"/>
                    </a:lnTo>
                    <a:lnTo>
                      <a:pt x="12611" y="16213"/>
                    </a:lnTo>
                    <a:lnTo>
                      <a:pt x="12771" y="16317"/>
                    </a:lnTo>
                    <a:lnTo>
                      <a:pt x="12913" y="16409"/>
                    </a:lnTo>
                    <a:lnTo>
                      <a:pt x="13038" y="16514"/>
                    </a:lnTo>
                    <a:lnTo>
                      <a:pt x="13251" y="16737"/>
                    </a:lnTo>
                    <a:lnTo>
                      <a:pt x="13428" y="16986"/>
                    </a:lnTo>
                    <a:lnTo>
                      <a:pt x="13517" y="17248"/>
                    </a:lnTo>
                    <a:lnTo>
                      <a:pt x="13588" y="17523"/>
                    </a:lnTo>
                    <a:lnTo>
                      <a:pt x="13588" y="17799"/>
                    </a:lnTo>
                    <a:lnTo>
                      <a:pt x="13517" y="18074"/>
                    </a:lnTo>
                    <a:lnTo>
                      <a:pt x="13428" y="18323"/>
                    </a:lnTo>
                    <a:lnTo>
                      <a:pt x="13286" y="18572"/>
                    </a:lnTo>
                    <a:lnTo>
                      <a:pt x="13109" y="18808"/>
                    </a:lnTo>
                    <a:lnTo>
                      <a:pt x="12878" y="19031"/>
                    </a:lnTo>
                    <a:lnTo>
                      <a:pt x="12434" y="19411"/>
                    </a:lnTo>
                    <a:lnTo>
                      <a:pt x="12132" y="19738"/>
                    </a:lnTo>
                    <a:lnTo>
                      <a:pt x="12025" y="19856"/>
                    </a:lnTo>
                    <a:lnTo>
                      <a:pt x="11919" y="20014"/>
                    </a:lnTo>
                    <a:lnTo>
                      <a:pt x="11883" y="20132"/>
                    </a:lnTo>
                    <a:lnTo>
                      <a:pt x="11883" y="20263"/>
                    </a:lnTo>
                    <a:lnTo>
                      <a:pt x="11883" y="20394"/>
                    </a:lnTo>
                    <a:lnTo>
                      <a:pt x="11954" y="20485"/>
                    </a:lnTo>
                    <a:lnTo>
                      <a:pt x="12061" y="20590"/>
                    </a:lnTo>
                    <a:lnTo>
                      <a:pt x="12185" y="20695"/>
                    </a:lnTo>
                    <a:lnTo>
                      <a:pt x="12327" y="20787"/>
                    </a:lnTo>
                    <a:lnTo>
                      <a:pt x="12540" y="20892"/>
                    </a:lnTo>
                    <a:lnTo>
                      <a:pt x="12771" y="20997"/>
                    </a:lnTo>
                    <a:lnTo>
                      <a:pt x="13073" y="21088"/>
                    </a:lnTo>
                    <a:lnTo>
                      <a:pt x="13428" y="21193"/>
                    </a:lnTo>
                    <a:lnTo>
                      <a:pt x="13873" y="21298"/>
                    </a:lnTo>
                    <a:lnTo>
                      <a:pt x="14317" y="21390"/>
                    </a:lnTo>
                    <a:lnTo>
                      <a:pt x="14778" y="21468"/>
                    </a:lnTo>
                    <a:lnTo>
                      <a:pt x="15294" y="21547"/>
                    </a:lnTo>
                    <a:lnTo>
                      <a:pt x="15809" y="21600"/>
                    </a:lnTo>
                    <a:lnTo>
                      <a:pt x="16359" y="21652"/>
                    </a:lnTo>
                    <a:lnTo>
                      <a:pt x="16875" y="21678"/>
                    </a:lnTo>
                    <a:lnTo>
                      <a:pt x="17407" y="21678"/>
                    </a:lnTo>
                    <a:lnTo>
                      <a:pt x="17958" y="21678"/>
                    </a:lnTo>
                    <a:lnTo>
                      <a:pt x="18473" y="21652"/>
                    </a:lnTo>
                    <a:lnTo>
                      <a:pt x="18953" y="21573"/>
                    </a:lnTo>
                    <a:lnTo>
                      <a:pt x="19397" y="21495"/>
                    </a:lnTo>
                    <a:lnTo>
                      <a:pt x="19841" y="21390"/>
                    </a:lnTo>
                    <a:lnTo>
                      <a:pt x="20214" y="21272"/>
                    </a:lnTo>
                    <a:lnTo>
                      <a:pt x="20551" y="21088"/>
                    </a:lnTo>
                    <a:lnTo>
                      <a:pt x="20480" y="20787"/>
                    </a:lnTo>
                    <a:lnTo>
                      <a:pt x="20409" y="20485"/>
                    </a:lnTo>
                    <a:lnTo>
                      <a:pt x="20356" y="20158"/>
                    </a:lnTo>
                    <a:lnTo>
                      <a:pt x="20356" y="19804"/>
                    </a:lnTo>
                    <a:lnTo>
                      <a:pt x="20321" y="19083"/>
                    </a:lnTo>
                    <a:lnTo>
                      <a:pt x="20356" y="18349"/>
                    </a:lnTo>
                    <a:lnTo>
                      <a:pt x="20409" y="17641"/>
                    </a:lnTo>
                    <a:lnTo>
                      <a:pt x="20480" y="17012"/>
                    </a:lnTo>
                    <a:lnTo>
                      <a:pt x="20551" y="16488"/>
                    </a:lnTo>
                    <a:lnTo>
                      <a:pt x="20551" y="16055"/>
                    </a:lnTo>
                    <a:lnTo>
                      <a:pt x="20551" y="15911"/>
                    </a:lnTo>
                    <a:lnTo>
                      <a:pt x="20445" y="15754"/>
                    </a:lnTo>
                    <a:lnTo>
                      <a:pt x="20356" y="15610"/>
                    </a:lnTo>
                    <a:lnTo>
                      <a:pt x="20178" y="15452"/>
                    </a:lnTo>
                    <a:lnTo>
                      <a:pt x="20001" y="15334"/>
                    </a:lnTo>
                    <a:lnTo>
                      <a:pt x="19770" y="15230"/>
                    </a:lnTo>
                    <a:lnTo>
                      <a:pt x="19521" y="15125"/>
                    </a:lnTo>
                    <a:lnTo>
                      <a:pt x="19290" y="15059"/>
                    </a:lnTo>
                    <a:lnTo>
                      <a:pt x="19024" y="15007"/>
                    </a:lnTo>
                    <a:lnTo>
                      <a:pt x="18740" y="14954"/>
                    </a:lnTo>
                    <a:lnTo>
                      <a:pt x="18509" y="14954"/>
                    </a:lnTo>
                    <a:lnTo>
                      <a:pt x="18225" y="14954"/>
                    </a:lnTo>
                    <a:lnTo>
                      <a:pt x="17994" y="15007"/>
                    </a:lnTo>
                    <a:lnTo>
                      <a:pt x="17763" y="15085"/>
                    </a:lnTo>
                    <a:lnTo>
                      <a:pt x="17550" y="15177"/>
                    </a:lnTo>
                    <a:lnTo>
                      <a:pt x="17372" y="15308"/>
                    </a:lnTo>
                    <a:lnTo>
                      <a:pt x="17176" y="15426"/>
                    </a:lnTo>
                    <a:lnTo>
                      <a:pt x="16928" y="15557"/>
                    </a:lnTo>
                    <a:lnTo>
                      <a:pt x="16661" y="15636"/>
                    </a:lnTo>
                    <a:lnTo>
                      <a:pt x="16359" y="15688"/>
                    </a:lnTo>
                    <a:lnTo>
                      <a:pt x="16022" y="15715"/>
                    </a:lnTo>
                    <a:lnTo>
                      <a:pt x="15667" y="15688"/>
                    </a:lnTo>
                    <a:lnTo>
                      <a:pt x="15294" y="15662"/>
                    </a:lnTo>
                    <a:lnTo>
                      <a:pt x="14956" y="15583"/>
                    </a:lnTo>
                    <a:lnTo>
                      <a:pt x="14619" y="15479"/>
                    </a:lnTo>
                    <a:lnTo>
                      <a:pt x="14281" y="15334"/>
                    </a:lnTo>
                    <a:lnTo>
                      <a:pt x="13961" y="15177"/>
                    </a:lnTo>
                    <a:lnTo>
                      <a:pt x="13695" y="14981"/>
                    </a:lnTo>
                    <a:lnTo>
                      <a:pt x="13588" y="14850"/>
                    </a:lnTo>
                    <a:lnTo>
                      <a:pt x="13482" y="14732"/>
                    </a:lnTo>
                    <a:lnTo>
                      <a:pt x="13393" y="14600"/>
                    </a:lnTo>
                    <a:lnTo>
                      <a:pt x="13322" y="14456"/>
                    </a:lnTo>
                    <a:lnTo>
                      <a:pt x="13251" y="14299"/>
                    </a:lnTo>
                    <a:lnTo>
                      <a:pt x="13215" y="14155"/>
                    </a:lnTo>
                    <a:lnTo>
                      <a:pt x="13180" y="13971"/>
                    </a:lnTo>
                    <a:lnTo>
                      <a:pt x="13180" y="13801"/>
                    </a:lnTo>
                    <a:lnTo>
                      <a:pt x="13180" y="13591"/>
                    </a:lnTo>
                    <a:lnTo>
                      <a:pt x="13215" y="13395"/>
                    </a:lnTo>
                    <a:lnTo>
                      <a:pt x="13251" y="13198"/>
                    </a:lnTo>
                    <a:lnTo>
                      <a:pt x="13322" y="13015"/>
                    </a:lnTo>
                    <a:lnTo>
                      <a:pt x="13393" y="12870"/>
                    </a:lnTo>
                    <a:lnTo>
                      <a:pt x="13482" y="12713"/>
                    </a:lnTo>
                    <a:lnTo>
                      <a:pt x="13588" y="12569"/>
                    </a:lnTo>
                    <a:lnTo>
                      <a:pt x="13730" y="12438"/>
                    </a:lnTo>
                    <a:lnTo>
                      <a:pt x="13997" y="12215"/>
                    </a:lnTo>
                    <a:lnTo>
                      <a:pt x="14334" y="12005"/>
                    </a:lnTo>
                    <a:lnTo>
                      <a:pt x="14690" y="11861"/>
                    </a:lnTo>
                    <a:lnTo>
                      <a:pt x="15063" y="11756"/>
                    </a:lnTo>
                    <a:lnTo>
                      <a:pt x="15436" y="11678"/>
                    </a:lnTo>
                    <a:lnTo>
                      <a:pt x="15809" y="11638"/>
                    </a:lnTo>
                    <a:lnTo>
                      <a:pt x="16182" y="11638"/>
                    </a:lnTo>
                    <a:lnTo>
                      <a:pt x="16555" y="11678"/>
                    </a:lnTo>
                    <a:lnTo>
                      <a:pt x="16910" y="11730"/>
                    </a:lnTo>
                    <a:lnTo>
                      <a:pt x="17248" y="11835"/>
                    </a:lnTo>
                    <a:lnTo>
                      <a:pt x="17514" y="11966"/>
                    </a:lnTo>
                    <a:lnTo>
                      <a:pt x="17763" y="12110"/>
                    </a:lnTo>
                    <a:lnTo>
                      <a:pt x="17887" y="12215"/>
                    </a:lnTo>
                    <a:lnTo>
                      <a:pt x="18065" y="12307"/>
                    </a:lnTo>
                    <a:lnTo>
                      <a:pt x="18260" y="12412"/>
                    </a:lnTo>
                    <a:lnTo>
                      <a:pt x="18438" y="12464"/>
                    </a:lnTo>
                    <a:lnTo>
                      <a:pt x="18669" y="12543"/>
                    </a:lnTo>
                    <a:lnTo>
                      <a:pt x="18882" y="12569"/>
                    </a:lnTo>
                    <a:lnTo>
                      <a:pt x="19113" y="12595"/>
                    </a:lnTo>
                    <a:lnTo>
                      <a:pt x="19361" y="12608"/>
                    </a:lnTo>
                    <a:lnTo>
                      <a:pt x="19592" y="12608"/>
                    </a:lnTo>
                    <a:lnTo>
                      <a:pt x="19841" y="12595"/>
                    </a:lnTo>
                    <a:lnTo>
                      <a:pt x="20072" y="12543"/>
                    </a:lnTo>
                    <a:lnTo>
                      <a:pt x="20321" y="12490"/>
                    </a:lnTo>
                    <a:lnTo>
                      <a:pt x="20551" y="12438"/>
                    </a:lnTo>
                    <a:lnTo>
                      <a:pt x="20800" y="12333"/>
                    </a:lnTo>
                    <a:lnTo>
                      <a:pt x="20996" y="12241"/>
                    </a:lnTo>
                    <a:lnTo>
                      <a:pt x="21244" y="12110"/>
                    </a:lnTo>
                    <a:lnTo>
                      <a:pt x="21298" y="12032"/>
                    </a:lnTo>
                    <a:lnTo>
                      <a:pt x="21404" y="11966"/>
                    </a:lnTo>
                    <a:lnTo>
                      <a:pt x="21475" y="11861"/>
                    </a:lnTo>
                    <a:lnTo>
                      <a:pt x="21511" y="11730"/>
                    </a:lnTo>
                    <a:lnTo>
                      <a:pt x="21617" y="11481"/>
                    </a:lnTo>
                    <a:lnTo>
                      <a:pt x="21653" y="11180"/>
                    </a:lnTo>
                    <a:lnTo>
                      <a:pt x="21653" y="10826"/>
                    </a:lnTo>
                    <a:lnTo>
                      <a:pt x="21653" y="10472"/>
                    </a:lnTo>
                    <a:lnTo>
                      <a:pt x="21582" y="10092"/>
                    </a:lnTo>
                    <a:lnTo>
                      <a:pt x="21511" y="9725"/>
                    </a:lnTo>
                    <a:lnTo>
                      <a:pt x="21298" y="8912"/>
                    </a:lnTo>
                    <a:lnTo>
                      <a:pt x="21067" y="8191"/>
                    </a:lnTo>
                    <a:lnTo>
                      <a:pt x="20800" y="7536"/>
                    </a:lnTo>
                    <a:lnTo>
                      <a:pt x="20551" y="7025"/>
                    </a:lnTo>
                    <a:lnTo>
                      <a:pt x="20001" y="7103"/>
                    </a:lnTo>
                    <a:lnTo>
                      <a:pt x="19432" y="7156"/>
                    </a:lnTo>
                    <a:lnTo>
                      <a:pt x="18846" y="7208"/>
                    </a:lnTo>
                    <a:lnTo>
                      <a:pt x="18225" y="7208"/>
                    </a:lnTo>
                    <a:lnTo>
                      <a:pt x="17656" y="7208"/>
                    </a:lnTo>
                    <a:lnTo>
                      <a:pt x="17070" y="7182"/>
                    </a:lnTo>
                    <a:lnTo>
                      <a:pt x="16484" y="7156"/>
                    </a:lnTo>
                    <a:lnTo>
                      <a:pt x="15986" y="7103"/>
                    </a:lnTo>
                    <a:lnTo>
                      <a:pt x="14992" y="6999"/>
                    </a:lnTo>
                    <a:lnTo>
                      <a:pt x="14210" y="6907"/>
                    </a:lnTo>
                    <a:lnTo>
                      <a:pt x="13695" y="6828"/>
                    </a:lnTo>
                    <a:lnTo>
                      <a:pt x="13517" y="6802"/>
                    </a:lnTo>
                    <a:lnTo>
                      <a:pt x="13073" y="6645"/>
                    </a:lnTo>
                    <a:lnTo>
                      <a:pt x="12700" y="6474"/>
                    </a:lnTo>
                    <a:lnTo>
                      <a:pt x="12363" y="6304"/>
                    </a:lnTo>
                    <a:lnTo>
                      <a:pt x="12132" y="6094"/>
                    </a:lnTo>
                    <a:lnTo>
                      <a:pt x="11919" y="5871"/>
                    </a:lnTo>
                    <a:lnTo>
                      <a:pt x="11776" y="5649"/>
                    </a:lnTo>
                    <a:lnTo>
                      <a:pt x="11688" y="5413"/>
                    </a:lnTo>
                    <a:lnTo>
                      <a:pt x="11617" y="5190"/>
                    </a:lnTo>
                    <a:lnTo>
                      <a:pt x="11617" y="4941"/>
                    </a:lnTo>
                    <a:lnTo>
                      <a:pt x="11652" y="4718"/>
                    </a:lnTo>
                    <a:lnTo>
                      <a:pt x="11723" y="4482"/>
                    </a:lnTo>
                    <a:lnTo>
                      <a:pt x="11812" y="4285"/>
                    </a:lnTo>
                    <a:lnTo>
                      <a:pt x="11919" y="4089"/>
                    </a:lnTo>
                    <a:lnTo>
                      <a:pt x="12096" y="3905"/>
                    </a:lnTo>
                    <a:lnTo>
                      <a:pt x="12292" y="3735"/>
                    </a:lnTo>
                    <a:lnTo>
                      <a:pt x="12505" y="3604"/>
                    </a:lnTo>
                    <a:lnTo>
                      <a:pt x="12700" y="3460"/>
                    </a:lnTo>
                    <a:lnTo>
                      <a:pt x="12878" y="3250"/>
                    </a:lnTo>
                    <a:lnTo>
                      <a:pt x="13038" y="3027"/>
                    </a:lnTo>
                    <a:lnTo>
                      <a:pt x="13180" y="2752"/>
                    </a:lnTo>
                    <a:lnTo>
                      <a:pt x="13286" y="2477"/>
                    </a:lnTo>
                    <a:lnTo>
                      <a:pt x="13322" y="2175"/>
                    </a:lnTo>
                    <a:lnTo>
                      <a:pt x="13357" y="1874"/>
                    </a:lnTo>
                    <a:lnTo>
                      <a:pt x="13286" y="1572"/>
                    </a:lnTo>
                    <a:lnTo>
                      <a:pt x="13180" y="1271"/>
                    </a:lnTo>
                    <a:lnTo>
                      <a:pt x="13038" y="983"/>
                    </a:lnTo>
                    <a:lnTo>
                      <a:pt x="12949" y="865"/>
                    </a:lnTo>
                    <a:lnTo>
                      <a:pt x="12807" y="733"/>
                    </a:lnTo>
                    <a:lnTo>
                      <a:pt x="12665" y="616"/>
                    </a:lnTo>
                    <a:lnTo>
                      <a:pt x="12505" y="511"/>
                    </a:lnTo>
                    <a:lnTo>
                      <a:pt x="12327" y="406"/>
                    </a:lnTo>
                    <a:lnTo>
                      <a:pt x="12132" y="314"/>
                    </a:lnTo>
                    <a:lnTo>
                      <a:pt x="11883" y="235"/>
                    </a:lnTo>
                    <a:lnTo>
                      <a:pt x="11652" y="183"/>
                    </a:lnTo>
                    <a:lnTo>
                      <a:pt x="11368" y="104"/>
                    </a:lnTo>
                    <a:lnTo>
                      <a:pt x="11101" y="78"/>
                    </a:lnTo>
                    <a:lnTo>
                      <a:pt x="10800" y="52"/>
                    </a:lnTo>
                    <a:lnTo>
                      <a:pt x="10444" y="52"/>
                    </a:lnTo>
                    <a:lnTo>
                      <a:pt x="10142" y="52"/>
                    </a:lnTo>
                    <a:lnTo>
                      <a:pt x="9840" y="78"/>
                    </a:lnTo>
                    <a:lnTo>
                      <a:pt x="9574" y="104"/>
                    </a:lnTo>
                    <a:lnTo>
                      <a:pt x="9325" y="157"/>
                    </a:lnTo>
                    <a:lnTo>
                      <a:pt x="9094" y="209"/>
                    </a:lnTo>
                    <a:lnTo>
                      <a:pt x="8846" y="262"/>
                    </a:lnTo>
                    <a:lnTo>
                      <a:pt x="8650" y="340"/>
                    </a:lnTo>
                    <a:lnTo>
                      <a:pt x="8437" y="432"/>
                    </a:lnTo>
                    <a:lnTo>
                      <a:pt x="8277" y="511"/>
                    </a:lnTo>
                    <a:lnTo>
                      <a:pt x="8100" y="616"/>
                    </a:lnTo>
                    <a:lnTo>
                      <a:pt x="7957" y="707"/>
                    </a:lnTo>
                    <a:lnTo>
                      <a:pt x="7833" y="838"/>
                    </a:lnTo>
                    <a:lnTo>
                      <a:pt x="7620" y="1061"/>
                    </a:lnTo>
                    <a:lnTo>
                      <a:pt x="7442" y="1336"/>
                    </a:lnTo>
                    <a:lnTo>
                      <a:pt x="7353" y="1599"/>
                    </a:lnTo>
                    <a:lnTo>
                      <a:pt x="7318" y="1900"/>
                    </a:lnTo>
                    <a:lnTo>
                      <a:pt x="7318" y="2175"/>
                    </a:lnTo>
                    <a:lnTo>
                      <a:pt x="7353" y="2450"/>
                    </a:lnTo>
                    <a:lnTo>
                      <a:pt x="7442" y="2726"/>
                    </a:lnTo>
                    <a:lnTo>
                      <a:pt x="7620" y="2975"/>
                    </a:lnTo>
                    <a:lnTo>
                      <a:pt x="7833" y="3198"/>
                    </a:lnTo>
                    <a:lnTo>
                      <a:pt x="8064" y="3433"/>
                    </a:lnTo>
                    <a:lnTo>
                      <a:pt x="8295" y="3630"/>
                    </a:lnTo>
                    <a:lnTo>
                      <a:pt x="8508" y="3853"/>
                    </a:lnTo>
                    <a:lnTo>
                      <a:pt x="8686" y="4089"/>
                    </a:lnTo>
                    <a:lnTo>
                      <a:pt x="8775" y="4312"/>
                    </a:lnTo>
                    <a:lnTo>
                      <a:pt x="8846" y="4561"/>
                    </a:lnTo>
                    <a:lnTo>
                      <a:pt x="8846" y="4810"/>
                    </a:lnTo>
                    <a:lnTo>
                      <a:pt x="8810" y="5059"/>
                    </a:lnTo>
                    <a:lnTo>
                      <a:pt x="8721" y="5295"/>
                    </a:lnTo>
                    <a:lnTo>
                      <a:pt x="8579" y="5544"/>
                    </a:lnTo>
                    <a:lnTo>
                      <a:pt x="8366" y="5766"/>
                    </a:lnTo>
                    <a:lnTo>
                      <a:pt x="8135" y="5976"/>
                    </a:lnTo>
                    <a:lnTo>
                      <a:pt x="7833" y="6199"/>
                    </a:lnTo>
                    <a:lnTo>
                      <a:pt x="7478" y="6369"/>
                    </a:lnTo>
                    <a:lnTo>
                      <a:pt x="7069" y="6527"/>
                    </a:lnTo>
                    <a:lnTo>
                      <a:pt x="6590" y="6671"/>
                    </a:lnTo>
                    <a:lnTo>
                      <a:pt x="6092" y="6802"/>
                    </a:lnTo>
                    <a:lnTo>
                      <a:pt x="5684" y="6802"/>
                    </a:lnTo>
                    <a:lnTo>
                      <a:pt x="5133" y="6802"/>
                    </a:lnTo>
                    <a:lnTo>
                      <a:pt x="4547" y="6802"/>
                    </a:lnTo>
                    <a:lnTo>
                      <a:pt x="3872" y="6802"/>
                    </a:lnTo>
                    <a:lnTo>
                      <a:pt x="3144" y="6802"/>
                    </a:lnTo>
                    <a:lnTo>
                      <a:pt x="2362" y="6802"/>
                    </a:lnTo>
                    <a:lnTo>
                      <a:pt x="1545" y="6802"/>
                    </a:lnTo>
                    <a:lnTo>
                      <a:pt x="692" y="6802"/>
                    </a:lnTo>
                    <a:lnTo>
                      <a:pt x="586" y="7234"/>
                    </a:lnTo>
                    <a:lnTo>
                      <a:pt x="461" y="7837"/>
                    </a:lnTo>
                    <a:lnTo>
                      <a:pt x="355" y="8493"/>
                    </a:lnTo>
                    <a:lnTo>
                      <a:pt x="248" y="9187"/>
                    </a:lnTo>
                    <a:lnTo>
                      <a:pt x="142" y="9869"/>
                    </a:lnTo>
                    <a:lnTo>
                      <a:pt x="106" y="10498"/>
                    </a:lnTo>
                    <a:lnTo>
                      <a:pt x="106" y="10983"/>
                    </a:lnTo>
                    <a:lnTo>
                      <a:pt x="106" y="11311"/>
                    </a:lnTo>
                    <a:lnTo>
                      <a:pt x="213" y="11481"/>
                    </a:lnTo>
                    <a:lnTo>
                      <a:pt x="319" y="11651"/>
                    </a:lnTo>
                    <a:lnTo>
                      <a:pt x="497" y="11783"/>
                    </a:lnTo>
                    <a:lnTo>
                      <a:pt x="692" y="11914"/>
                    </a:lnTo>
                    <a:lnTo>
                      <a:pt x="941" y="12032"/>
                    </a:lnTo>
                    <a:lnTo>
                      <a:pt x="1207" y="12110"/>
                    </a:lnTo>
                    <a:lnTo>
                      <a:pt x="1509" y="12189"/>
                    </a:lnTo>
                    <a:lnTo>
                      <a:pt x="1794" y="12241"/>
                    </a:lnTo>
                    <a:lnTo>
                      <a:pt x="2131" y="12267"/>
                    </a:lnTo>
                    <a:lnTo>
                      <a:pt x="2433" y="12281"/>
                    </a:lnTo>
                    <a:lnTo>
                      <a:pt x="2735" y="12267"/>
                    </a:lnTo>
                    <a:lnTo>
                      <a:pt x="3055" y="12241"/>
                    </a:lnTo>
                    <a:lnTo>
                      <a:pt x="3357" y="12189"/>
                    </a:lnTo>
                    <a:lnTo>
                      <a:pt x="3623" y="12084"/>
                    </a:lnTo>
                    <a:lnTo>
                      <a:pt x="3872" y="11979"/>
                    </a:lnTo>
                    <a:lnTo>
                      <a:pt x="4103" y="11861"/>
                    </a:lnTo>
                    <a:lnTo>
                      <a:pt x="4316" y="11704"/>
                    </a:lnTo>
                    <a:lnTo>
                      <a:pt x="4582" y="11612"/>
                    </a:lnTo>
                    <a:lnTo>
                      <a:pt x="4849" y="11533"/>
                    </a:lnTo>
                    <a:lnTo>
                      <a:pt x="5169" y="11507"/>
                    </a:lnTo>
                    <a:lnTo>
                      <a:pt x="5506" y="11481"/>
                    </a:lnTo>
                    <a:lnTo>
                      <a:pt x="5808" y="11507"/>
                    </a:lnTo>
                    <a:lnTo>
                      <a:pt x="6146" y="11560"/>
                    </a:lnTo>
                    <a:lnTo>
                      <a:pt x="6501" y="11651"/>
                    </a:lnTo>
                    <a:lnTo>
                      <a:pt x="6803" y="11783"/>
                    </a:lnTo>
                    <a:lnTo>
                      <a:pt x="7105" y="11940"/>
                    </a:lnTo>
                    <a:lnTo>
                      <a:pt x="7353" y="12110"/>
                    </a:lnTo>
                    <a:lnTo>
                      <a:pt x="7584" y="12333"/>
                    </a:lnTo>
                    <a:lnTo>
                      <a:pt x="7798" y="12595"/>
                    </a:lnTo>
                    <a:lnTo>
                      <a:pt x="7922" y="12870"/>
                    </a:lnTo>
                    <a:lnTo>
                      <a:pt x="8028" y="13198"/>
                    </a:lnTo>
                    <a:lnTo>
                      <a:pt x="8064" y="13526"/>
                    </a:lnTo>
                    <a:lnTo>
                      <a:pt x="8028" y="13775"/>
                    </a:lnTo>
                    <a:lnTo>
                      <a:pt x="7922" y="13998"/>
                    </a:lnTo>
                    <a:lnTo>
                      <a:pt x="7798" y="14220"/>
                    </a:lnTo>
                    <a:lnTo>
                      <a:pt x="7584" y="14404"/>
                    </a:lnTo>
                    <a:lnTo>
                      <a:pt x="7353" y="14574"/>
                    </a:lnTo>
                    <a:lnTo>
                      <a:pt x="7105" y="14732"/>
                    </a:lnTo>
                    <a:lnTo>
                      <a:pt x="6803" y="14850"/>
                    </a:lnTo>
                    <a:lnTo>
                      <a:pt x="6501" y="14954"/>
                    </a:lnTo>
                    <a:lnTo>
                      <a:pt x="6146" y="15033"/>
                    </a:lnTo>
                    <a:lnTo>
                      <a:pt x="5808" y="15085"/>
                    </a:lnTo>
                    <a:lnTo>
                      <a:pt x="5506" y="15085"/>
                    </a:lnTo>
                    <a:lnTo>
                      <a:pt x="5169" y="15059"/>
                    </a:lnTo>
                    <a:lnTo>
                      <a:pt x="4849" y="15007"/>
                    </a:lnTo>
                    <a:lnTo>
                      <a:pt x="4582" y="14902"/>
                    </a:lnTo>
                    <a:lnTo>
                      <a:pt x="4316" y="14784"/>
                    </a:lnTo>
                    <a:lnTo>
                      <a:pt x="4103" y="14600"/>
                    </a:lnTo>
                    <a:lnTo>
                      <a:pt x="3907" y="14430"/>
                    </a:lnTo>
                    <a:lnTo>
                      <a:pt x="3659" y="14299"/>
                    </a:lnTo>
                    <a:lnTo>
                      <a:pt x="3428" y="14194"/>
                    </a:lnTo>
                    <a:lnTo>
                      <a:pt x="3179" y="14129"/>
                    </a:lnTo>
                    <a:lnTo>
                      <a:pt x="2913" y="14102"/>
                    </a:lnTo>
                    <a:lnTo>
                      <a:pt x="2646" y="14102"/>
                    </a:lnTo>
                    <a:lnTo>
                      <a:pt x="2362" y="14129"/>
                    </a:lnTo>
                    <a:lnTo>
                      <a:pt x="2096" y="14168"/>
                    </a:lnTo>
                    <a:lnTo>
                      <a:pt x="1811" y="14273"/>
                    </a:lnTo>
                    <a:lnTo>
                      <a:pt x="1545" y="14378"/>
                    </a:lnTo>
                    <a:lnTo>
                      <a:pt x="1314" y="14496"/>
                    </a:lnTo>
                    <a:lnTo>
                      <a:pt x="1065" y="14653"/>
                    </a:lnTo>
                    <a:lnTo>
                      <a:pt x="870" y="14797"/>
                    </a:lnTo>
                    <a:lnTo>
                      <a:pt x="657" y="14981"/>
                    </a:lnTo>
                    <a:lnTo>
                      <a:pt x="497" y="15177"/>
                    </a:lnTo>
                    <a:lnTo>
                      <a:pt x="390" y="15413"/>
                    </a:lnTo>
                    <a:lnTo>
                      <a:pt x="284" y="15636"/>
                    </a:lnTo>
                    <a:lnTo>
                      <a:pt x="248" y="15911"/>
                    </a:lnTo>
                    <a:lnTo>
                      <a:pt x="284" y="16239"/>
                    </a:lnTo>
                    <a:lnTo>
                      <a:pt x="319" y="16566"/>
                    </a:lnTo>
                    <a:lnTo>
                      <a:pt x="497" y="17340"/>
                    </a:lnTo>
                    <a:lnTo>
                      <a:pt x="692" y="18152"/>
                    </a:lnTo>
                    <a:lnTo>
                      <a:pt x="799" y="18559"/>
                    </a:lnTo>
                    <a:lnTo>
                      <a:pt x="905" y="18978"/>
                    </a:lnTo>
                    <a:lnTo>
                      <a:pt x="959" y="19384"/>
                    </a:lnTo>
                    <a:lnTo>
                      <a:pt x="994" y="19791"/>
                    </a:lnTo>
                    <a:lnTo>
                      <a:pt x="994" y="20132"/>
                    </a:lnTo>
                    <a:lnTo>
                      <a:pt x="959" y="20485"/>
                    </a:lnTo>
                    <a:lnTo>
                      <a:pt x="941" y="20669"/>
                    </a:lnTo>
                    <a:lnTo>
                      <a:pt x="870" y="20813"/>
                    </a:lnTo>
                    <a:lnTo>
                      <a:pt x="799" y="20970"/>
                    </a:lnTo>
                    <a:lnTo>
                      <a:pt x="692" y="21088"/>
                    </a:lnTo>
                    <a:lnTo>
                      <a:pt x="1474" y="20997"/>
                    </a:lnTo>
                    <a:lnTo>
                      <a:pt x="2291" y="20866"/>
                    </a:lnTo>
                    <a:lnTo>
                      <a:pt x="3108" y="20787"/>
                    </a:lnTo>
                    <a:lnTo>
                      <a:pt x="3907" y="20721"/>
                    </a:lnTo>
                    <a:lnTo>
                      <a:pt x="4653" y="20695"/>
                    </a:lnTo>
                    <a:lnTo>
                      <a:pt x="5364" y="20695"/>
                    </a:lnTo>
                    <a:lnTo>
                      <a:pt x="5701" y="20721"/>
                    </a:lnTo>
                    <a:lnTo>
                      <a:pt x="6057" y="20761"/>
                    </a:lnTo>
                    <a:lnTo>
                      <a:pt x="6323" y="20813"/>
                    </a:lnTo>
                    <a:lnTo>
                      <a:pt x="6625" y="20892"/>
                    </a:lnTo>
                    <a:close/>
                  </a:path>
                </a:pathLst>
              </a:custGeom>
              <a:solidFill>
                <a:srgbClr val="FFBE7D"/>
              </a:solidFill>
              <a:ln w="285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8" name="Puzzle2"/>
              <p:cNvSpPr>
                <a:spLocks noEditPoints="1" noChangeArrowheads="1"/>
              </p:cNvSpPr>
              <p:nvPr/>
            </p:nvSpPr>
            <p:spPr bwMode="auto">
              <a:xfrm rot="1500000">
                <a:off x="1063" y="1449"/>
                <a:ext cx="1778" cy="1379"/>
              </a:xfrm>
              <a:custGeom>
                <a:avLst/>
                <a:gdLst>
                  <a:gd name="T0" fmla="*/ 11 w 21600"/>
                  <a:gd name="T1" fmla="*/ 13386 h 21600"/>
                  <a:gd name="T2" fmla="*/ 4202 w 21600"/>
                  <a:gd name="T3" fmla="*/ 21161 h 21600"/>
                  <a:gd name="T4" fmla="*/ 10400 w 21600"/>
                  <a:gd name="T5" fmla="*/ 13909 h 21600"/>
                  <a:gd name="T6" fmla="*/ 16821 w 21600"/>
                  <a:gd name="T7" fmla="*/ 21190 h 21600"/>
                  <a:gd name="T8" fmla="*/ 21600 w 21600"/>
                  <a:gd name="T9" fmla="*/ 15083 h 21600"/>
                  <a:gd name="T10" fmla="*/ 16889 w 21600"/>
                  <a:gd name="T11" fmla="*/ 5739 h 21600"/>
                  <a:gd name="T12" fmla="*/ 10800 w 21600"/>
                  <a:gd name="T13" fmla="*/ 28 h 21600"/>
                  <a:gd name="T14" fmla="*/ 4202 w 21600"/>
                  <a:gd name="T15" fmla="*/ 5894 h 21600"/>
                  <a:gd name="T16" fmla="*/ 5388 w 21600"/>
                  <a:gd name="T17" fmla="*/ 6742 h 21600"/>
                  <a:gd name="T18" fmla="*/ 16177 w 21600"/>
                  <a:gd name="T19" fmla="*/ 20441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T16" t="T17" r="T18" b="T19"/>
                <a:pathLst>
                  <a:path w="21600" h="21600">
                    <a:moveTo>
                      <a:pt x="4247" y="12354"/>
                    </a:moveTo>
                    <a:lnTo>
                      <a:pt x="4134" y="12468"/>
                    </a:lnTo>
                    <a:lnTo>
                      <a:pt x="4010" y="12581"/>
                    </a:lnTo>
                    <a:lnTo>
                      <a:pt x="3897" y="12637"/>
                    </a:lnTo>
                    <a:lnTo>
                      <a:pt x="3773" y="12694"/>
                    </a:lnTo>
                    <a:lnTo>
                      <a:pt x="3637" y="12694"/>
                    </a:lnTo>
                    <a:lnTo>
                      <a:pt x="3524" y="12694"/>
                    </a:lnTo>
                    <a:lnTo>
                      <a:pt x="3400" y="12665"/>
                    </a:lnTo>
                    <a:lnTo>
                      <a:pt x="3287" y="12609"/>
                    </a:lnTo>
                    <a:lnTo>
                      <a:pt x="3027" y="12496"/>
                    </a:lnTo>
                    <a:lnTo>
                      <a:pt x="2790" y="12340"/>
                    </a:lnTo>
                    <a:lnTo>
                      <a:pt x="2530" y="12142"/>
                    </a:lnTo>
                    <a:lnTo>
                      <a:pt x="2293" y="11987"/>
                    </a:lnTo>
                    <a:lnTo>
                      <a:pt x="2033" y="11817"/>
                    </a:lnTo>
                    <a:lnTo>
                      <a:pt x="1773" y="11676"/>
                    </a:lnTo>
                    <a:lnTo>
                      <a:pt x="1638" y="11662"/>
                    </a:lnTo>
                    <a:lnTo>
                      <a:pt x="1513" y="11634"/>
                    </a:lnTo>
                    <a:lnTo>
                      <a:pt x="1378" y="11634"/>
                    </a:lnTo>
                    <a:lnTo>
                      <a:pt x="1253" y="11634"/>
                    </a:lnTo>
                    <a:lnTo>
                      <a:pt x="1118" y="11662"/>
                    </a:lnTo>
                    <a:lnTo>
                      <a:pt x="971" y="11732"/>
                    </a:lnTo>
                    <a:lnTo>
                      <a:pt x="835" y="11817"/>
                    </a:lnTo>
                    <a:lnTo>
                      <a:pt x="711" y="11959"/>
                    </a:lnTo>
                    <a:lnTo>
                      <a:pt x="553" y="12086"/>
                    </a:lnTo>
                    <a:lnTo>
                      <a:pt x="429" y="12284"/>
                    </a:lnTo>
                    <a:lnTo>
                      <a:pt x="271" y="12524"/>
                    </a:lnTo>
                    <a:lnTo>
                      <a:pt x="146" y="12793"/>
                    </a:lnTo>
                    <a:lnTo>
                      <a:pt x="79" y="12962"/>
                    </a:lnTo>
                    <a:lnTo>
                      <a:pt x="33" y="13146"/>
                    </a:lnTo>
                    <a:lnTo>
                      <a:pt x="11" y="13386"/>
                    </a:lnTo>
                    <a:lnTo>
                      <a:pt x="11" y="13641"/>
                    </a:lnTo>
                    <a:lnTo>
                      <a:pt x="33" y="13881"/>
                    </a:lnTo>
                    <a:lnTo>
                      <a:pt x="101" y="14150"/>
                    </a:lnTo>
                    <a:lnTo>
                      <a:pt x="192" y="14404"/>
                    </a:lnTo>
                    <a:lnTo>
                      <a:pt x="293" y="14645"/>
                    </a:lnTo>
                    <a:lnTo>
                      <a:pt x="451" y="14857"/>
                    </a:lnTo>
                    <a:lnTo>
                      <a:pt x="621" y="15054"/>
                    </a:lnTo>
                    <a:lnTo>
                      <a:pt x="734" y="15125"/>
                    </a:lnTo>
                    <a:lnTo>
                      <a:pt x="835" y="15210"/>
                    </a:lnTo>
                    <a:lnTo>
                      <a:pt x="948" y="15267"/>
                    </a:lnTo>
                    <a:lnTo>
                      <a:pt x="1084" y="15323"/>
                    </a:lnTo>
                    <a:lnTo>
                      <a:pt x="1208" y="15351"/>
                    </a:lnTo>
                    <a:lnTo>
                      <a:pt x="1355" y="15380"/>
                    </a:lnTo>
                    <a:lnTo>
                      <a:pt x="1513" y="15380"/>
                    </a:lnTo>
                    <a:lnTo>
                      <a:pt x="1683" y="15380"/>
                    </a:lnTo>
                    <a:lnTo>
                      <a:pt x="1864" y="15351"/>
                    </a:lnTo>
                    <a:lnTo>
                      <a:pt x="2033" y="15323"/>
                    </a:lnTo>
                    <a:lnTo>
                      <a:pt x="2225" y="15238"/>
                    </a:lnTo>
                    <a:lnTo>
                      <a:pt x="2428" y="15153"/>
                    </a:lnTo>
                    <a:lnTo>
                      <a:pt x="2745" y="15026"/>
                    </a:lnTo>
                    <a:lnTo>
                      <a:pt x="3005" y="14913"/>
                    </a:lnTo>
                    <a:lnTo>
                      <a:pt x="3264" y="14828"/>
                    </a:lnTo>
                    <a:lnTo>
                      <a:pt x="3513" y="14800"/>
                    </a:lnTo>
                    <a:lnTo>
                      <a:pt x="3615" y="14828"/>
                    </a:lnTo>
                    <a:lnTo>
                      <a:pt x="3728" y="14857"/>
                    </a:lnTo>
                    <a:lnTo>
                      <a:pt x="3807" y="14913"/>
                    </a:lnTo>
                    <a:lnTo>
                      <a:pt x="3920" y="14998"/>
                    </a:lnTo>
                    <a:lnTo>
                      <a:pt x="4010" y="15097"/>
                    </a:lnTo>
                    <a:lnTo>
                      <a:pt x="4089" y="15238"/>
                    </a:lnTo>
                    <a:lnTo>
                      <a:pt x="4179" y="15408"/>
                    </a:lnTo>
                    <a:lnTo>
                      <a:pt x="4247" y="15620"/>
                    </a:lnTo>
                    <a:lnTo>
                      <a:pt x="4326" y="15860"/>
                    </a:lnTo>
                    <a:lnTo>
                      <a:pt x="4394" y="16129"/>
                    </a:lnTo>
                    <a:lnTo>
                      <a:pt x="4439" y="16440"/>
                    </a:lnTo>
                    <a:lnTo>
                      <a:pt x="4507" y="16737"/>
                    </a:lnTo>
                    <a:lnTo>
                      <a:pt x="4552" y="17090"/>
                    </a:lnTo>
                    <a:lnTo>
                      <a:pt x="4575" y="17443"/>
                    </a:lnTo>
                    <a:lnTo>
                      <a:pt x="4586" y="17825"/>
                    </a:lnTo>
                    <a:lnTo>
                      <a:pt x="4586" y="18193"/>
                    </a:lnTo>
                    <a:lnTo>
                      <a:pt x="4586" y="18574"/>
                    </a:lnTo>
                    <a:lnTo>
                      <a:pt x="4586" y="18984"/>
                    </a:lnTo>
                    <a:lnTo>
                      <a:pt x="4552" y="19366"/>
                    </a:lnTo>
                    <a:lnTo>
                      <a:pt x="4507" y="19748"/>
                    </a:lnTo>
                    <a:lnTo>
                      <a:pt x="4462" y="20129"/>
                    </a:lnTo>
                    <a:lnTo>
                      <a:pt x="4371" y="20483"/>
                    </a:lnTo>
                    <a:lnTo>
                      <a:pt x="4292" y="20836"/>
                    </a:lnTo>
                    <a:lnTo>
                      <a:pt x="4202" y="21161"/>
                    </a:lnTo>
                    <a:lnTo>
                      <a:pt x="4744" y="21161"/>
                    </a:lnTo>
                    <a:lnTo>
                      <a:pt x="5264" y="21161"/>
                    </a:lnTo>
                    <a:lnTo>
                      <a:pt x="5784" y="21161"/>
                    </a:lnTo>
                    <a:lnTo>
                      <a:pt x="6235" y="21161"/>
                    </a:lnTo>
                    <a:lnTo>
                      <a:pt x="6676" y="21161"/>
                    </a:lnTo>
                    <a:lnTo>
                      <a:pt x="7060" y="21161"/>
                    </a:lnTo>
                    <a:lnTo>
                      <a:pt x="7410" y="21161"/>
                    </a:lnTo>
                    <a:lnTo>
                      <a:pt x="7670" y="21161"/>
                    </a:lnTo>
                    <a:lnTo>
                      <a:pt x="8020" y="21020"/>
                    </a:lnTo>
                    <a:lnTo>
                      <a:pt x="8303" y="20893"/>
                    </a:lnTo>
                    <a:lnTo>
                      <a:pt x="8563" y="20695"/>
                    </a:lnTo>
                    <a:lnTo>
                      <a:pt x="8800" y="20511"/>
                    </a:lnTo>
                    <a:lnTo>
                      <a:pt x="8969" y="20285"/>
                    </a:lnTo>
                    <a:lnTo>
                      <a:pt x="9150" y="20045"/>
                    </a:lnTo>
                    <a:lnTo>
                      <a:pt x="9252" y="19804"/>
                    </a:lnTo>
                    <a:lnTo>
                      <a:pt x="9342" y="19550"/>
                    </a:lnTo>
                    <a:lnTo>
                      <a:pt x="9410" y="19281"/>
                    </a:lnTo>
                    <a:lnTo>
                      <a:pt x="9433" y="19013"/>
                    </a:lnTo>
                    <a:lnTo>
                      <a:pt x="9433" y="18744"/>
                    </a:lnTo>
                    <a:lnTo>
                      <a:pt x="9387" y="18504"/>
                    </a:lnTo>
                    <a:lnTo>
                      <a:pt x="9320" y="18221"/>
                    </a:lnTo>
                    <a:lnTo>
                      <a:pt x="9207" y="17981"/>
                    </a:lnTo>
                    <a:lnTo>
                      <a:pt x="9105" y="17740"/>
                    </a:lnTo>
                    <a:lnTo>
                      <a:pt x="8924" y="17514"/>
                    </a:lnTo>
                    <a:lnTo>
                      <a:pt x="8777" y="17274"/>
                    </a:lnTo>
                    <a:lnTo>
                      <a:pt x="8642" y="17034"/>
                    </a:lnTo>
                    <a:lnTo>
                      <a:pt x="8563" y="16765"/>
                    </a:lnTo>
                    <a:lnTo>
                      <a:pt x="8472" y="16468"/>
                    </a:lnTo>
                    <a:lnTo>
                      <a:pt x="8450" y="16157"/>
                    </a:lnTo>
                    <a:lnTo>
                      <a:pt x="8450" y="15860"/>
                    </a:lnTo>
                    <a:lnTo>
                      <a:pt x="8472" y="15563"/>
                    </a:lnTo>
                    <a:lnTo>
                      <a:pt x="8540" y="15267"/>
                    </a:lnTo>
                    <a:lnTo>
                      <a:pt x="8642" y="14998"/>
                    </a:lnTo>
                    <a:lnTo>
                      <a:pt x="8777" y="14729"/>
                    </a:lnTo>
                    <a:lnTo>
                      <a:pt x="8868" y="14616"/>
                    </a:lnTo>
                    <a:lnTo>
                      <a:pt x="8969" y="14475"/>
                    </a:lnTo>
                    <a:lnTo>
                      <a:pt x="9060" y="14376"/>
                    </a:lnTo>
                    <a:lnTo>
                      <a:pt x="9184" y="14291"/>
                    </a:lnTo>
                    <a:lnTo>
                      <a:pt x="9297" y="14206"/>
                    </a:lnTo>
                    <a:lnTo>
                      <a:pt x="9433" y="14121"/>
                    </a:lnTo>
                    <a:lnTo>
                      <a:pt x="9579" y="14051"/>
                    </a:lnTo>
                    <a:lnTo>
                      <a:pt x="9726" y="13994"/>
                    </a:lnTo>
                    <a:lnTo>
                      <a:pt x="9884" y="13938"/>
                    </a:lnTo>
                    <a:lnTo>
                      <a:pt x="10054" y="13909"/>
                    </a:lnTo>
                    <a:lnTo>
                      <a:pt x="10257" y="13881"/>
                    </a:lnTo>
                    <a:lnTo>
                      <a:pt x="10449" y="13881"/>
                    </a:lnTo>
                    <a:lnTo>
                      <a:pt x="10664" y="13881"/>
                    </a:lnTo>
                    <a:lnTo>
                      <a:pt x="10856" y="13909"/>
                    </a:lnTo>
                    <a:lnTo>
                      <a:pt x="11037" y="13966"/>
                    </a:lnTo>
                    <a:lnTo>
                      <a:pt x="11206" y="14023"/>
                    </a:lnTo>
                    <a:lnTo>
                      <a:pt x="11353" y="14093"/>
                    </a:lnTo>
                    <a:lnTo>
                      <a:pt x="11511" y="14178"/>
                    </a:lnTo>
                    <a:lnTo>
                      <a:pt x="11635" y="14263"/>
                    </a:lnTo>
                    <a:lnTo>
                      <a:pt x="11748" y="14376"/>
                    </a:lnTo>
                    <a:lnTo>
                      <a:pt x="11861" y="14475"/>
                    </a:lnTo>
                    <a:lnTo>
                      <a:pt x="11941" y="14616"/>
                    </a:lnTo>
                    <a:lnTo>
                      <a:pt x="12031" y="14758"/>
                    </a:lnTo>
                    <a:lnTo>
                      <a:pt x="12099" y="14885"/>
                    </a:lnTo>
                    <a:lnTo>
                      <a:pt x="12200" y="15210"/>
                    </a:lnTo>
                    <a:lnTo>
                      <a:pt x="12268" y="15507"/>
                    </a:lnTo>
                    <a:lnTo>
                      <a:pt x="12291" y="15832"/>
                    </a:lnTo>
                    <a:lnTo>
                      <a:pt x="12291" y="16157"/>
                    </a:lnTo>
                    <a:lnTo>
                      <a:pt x="12246" y="16482"/>
                    </a:lnTo>
                    <a:lnTo>
                      <a:pt x="12178" y="16807"/>
                    </a:lnTo>
                    <a:lnTo>
                      <a:pt x="12099" y="17090"/>
                    </a:lnTo>
                    <a:lnTo>
                      <a:pt x="12008" y="17330"/>
                    </a:lnTo>
                    <a:lnTo>
                      <a:pt x="11884" y="17542"/>
                    </a:lnTo>
                    <a:lnTo>
                      <a:pt x="11748" y="17712"/>
                    </a:lnTo>
                    <a:lnTo>
                      <a:pt x="11613" y="17839"/>
                    </a:lnTo>
                    <a:lnTo>
                      <a:pt x="11489" y="18037"/>
                    </a:lnTo>
                    <a:lnTo>
                      <a:pt x="11398" y="18221"/>
                    </a:lnTo>
                    <a:lnTo>
                      <a:pt x="11319" y="18447"/>
                    </a:lnTo>
                    <a:lnTo>
                      <a:pt x="11251" y="18659"/>
                    </a:lnTo>
                    <a:lnTo>
                      <a:pt x="11206" y="18900"/>
                    </a:lnTo>
                    <a:lnTo>
                      <a:pt x="11184" y="19154"/>
                    </a:lnTo>
                    <a:lnTo>
                      <a:pt x="11184" y="19423"/>
                    </a:lnTo>
                    <a:lnTo>
                      <a:pt x="11229" y="19663"/>
                    </a:lnTo>
                    <a:lnTo>
                      <a:pt x="11297" y="19903"/>
                    </a:lnTo>
                    <a:lnTo>
                      <a:pt x="11376" y="20158"/>
                    </a:lnTo>
                    <a:lnTo>
                      <a:pt x="11511" y="20398"/>
                    </a:lnTo>
                    <a:lnTo>
                      <a:pt x="11681" y="20610"/>
                    </a:lnTo>
                    <a:lnTo>
                      <a:pt x="11884" y="20808"/>
                    </a:lnTo>
                    <a:lnTo>
                      <a:pt x="12121" y="20992"/>
                    </a:lnTo>
                    <a:lnTo>
                      <a:pt x="12404" y="21161"/>
                    </a:lnTo>
                    <a:lnTo>
                      <a:pt x="12528" y="21190"/>
                    </a:lnTo>
                    <a:lnTo>
                      <a:pt x="12856" y="21274"/>
                    </a:lnTo>
                    <a:lnTo>
                      <a:pt x="13330" y="21373"/>
                    </a:lnTo>
                    <a:lnTo>
                      <a:pt x="13963" y="21486"/>
                    </a:lnTo>
                    <a:lnTo>
                      <a:pt x="14313" y="21543"/>
                    </a:lnTo>
                    <a:lnTo>
                      <a:pt x="14652" y="21571"/>
                    </a:lnTo>
                    <a:lnTo>
                      <a:pt x="15025" y="21600"/>
                    </a:lnTo>
                    <a:lnTo>
                      <a:pt x="15409" y="21600"/>
                    </a:lnTo>
                    <a:lnTo>
                      <a:pt x="15782" y="21600"/>
                    </a:lnTo>
                    <a:lnTo>
                      <a:pt x="16177" y="21571"/>
                    </a:lnTo>
                    <a:lnTo>
                      <a:pt x="16516" y="21486"/>
                    </a:lnTo>
                    <a:lnTo>
                      <a:pt x="16889" y="21402"/>
                    </a:lnTo>
                    <a:lnTo>
                      <a:pt x="16821" y="21190"/>
                    </a:lnTo>
                    <a:lnTo>
                      <a:pt x="16776" y="20935"/>
                    </a:lnTo>
                    <a:lnTo>
                      <a:pt x="16742" y="20667"/>
                    </a:lnTo>
                    <a:lnTo>
                      <a:pt x="16719" y="20370"/>
                    </a:lnTo>
                    <a:lnTo>
                      <a:pt x="16697" y="19719"/>
                    </a:lnTo>
                    <a:lnTo>
                      <a:pt x="16697" y="19013"/>
                    </a:lnTo>
                    <a:lnTo>
                      <a:pt x="16719" y="18306"/>
                    </a:lnTo>
                    <a:lnTo>
                      <a:pt x="16753" y="17599"/>
                    </a:lnTo>
                    <a:lnTo>
                      <a:pt x="16821" y="16949"/>
                    </a:lnTo>
                    <a:lnTo>
                      <a:pt x="16889" y="16383"/>
                    </a:lnTo>
                    <a:lnTo>
                      <a:pt x="16934" y="16129"/>
                    </a:lnTo>
                    <a:lnTo>
                      <a:pt x="17002" y="15945"/>
                    </a:lnTo>
                    <a:lnTo>
                      <a:pt x="17081" y="15790"/>
                    </a:lnTo>
                    <a:lnTo>
                      <a:pt x="17194" y="15648"/>
                    </a:lnTo>
                    <a:lnTo>
                      <a:pt x="17318" y="15563"/>
                    </a:lnTo>
                    <a:lnTo>
                      <a:pt x="17453" y="15507"/>
                    </a:lnTo>
                    <a:lnTo>
                      <a:pt x="17600" y="15450"/>
                    </a:lnTo>
                    <a:lnTo>
                      <a:pt x="17758" y="15450"/>
                    </a:lnTo>
                    <a:lnTo>
                      <a:pt x="17905" y="15479"/>
                    </a:lnTo>
                    <a:lnTo>
                      <a:pt x="18064" y="15535"/>
                    </a:lnTo>
                    <a:lnTo>
                      <a:pt x="18233" y="15620"/>
                    </a:lnTo>
                    <a:lnTo>
                      <a:pt x="18380" y="15733"/>
                    </a:lnTo>
                    <a:lnTo>
                      <a:pt x="18561" y="15832"/>
                    </a:lnTo>
                    <a:lnTo>
                      <a:pt x="18707" y="15973"/>
                    </a:lnTo>
                    <a:lnTo>
                      <a:pt x="18866" y="16129"/>
                    </a:lnTo>
                    <a:lnTo>
                      <a:pt x="18990" y="16327"/>
                    </a:lnTo>
                    <a:lnTo>
                      <a:pt x="19125" y="16482"/>
                    </a:lnTo>
                    <a:lnTo>
                      <a:pt x="19295" y="16624"/>
                    </a:lnTo>
                    <a:lnTo>
                      <a:pt x="19464" y="16737"/>
                    </a:lnTo>
                    <a:lnTo>
                      <a:pt x="19668" y="16807"/>
                    </a:lnTo>
                    <a:lnTo>
                      <a:pt x="19860" y="16836"/>
                    </a:lnTo>
                    <a:lnTo>
                      <a:pt x="20052" y="16864"/>
                    </a:lnTo>
                    <a:lnTo>
                      <a:pt x="20266" y="16836"/>
                    </a:lnTo>
                    <a:lnTo>
                      <a:pt x="20470" y="16793"/>
                    </a:lnTo>
                    <a:lnTo>
                      <a:pt x="20662" y="16708"/>
                    </a:lnTo>
                    <a:lnTo>
                      <a:pt x="20854" y="16567"/>
                    </a:lnTo>
                    <a:lnTo>
                      <a:pt x="21035" y="16412"/>
                    </a:lnTo>
                    <a:lnTo>
                      <a:pt x="21182" y="16214"/>
                    </a:lnTo>
                    <a:lnTo>
                      <a:pt x="21340" y="16002"/>
                    </a:lnTo>
                    <a:lnTo>
                      <a:pt x="21441" y="15733"/>
                    </a:lnTo>
                    <a:lnTo>
                      <a:pt x="21532" y="15436"/>
                    </a:lnTo>
                    <a:lnTo>
                      <a:pt x="21600" y="15083"/>
                    </a:lnTo>
                    <a:lnTo>
                      <a:pt x="21600" y="14885"/>
                    </a:lnTo>
                    <a:lnTo>
                      <a:pt x="21600" y="14729"/>
                    </a:lnTo>
                    <a:lnTo>
                      <a:pt x="21600" y="14531"/>
                    </a:lnTo>
                    <a:lnTo>
                      <a:pt x="21577" y="14376"/>
                    </a:lnTo>
                    <a:lnTo>
                      <a:pt x="21532" y="14206"/>
                    </a:lnTo>
                    <a:lnTo>
                      <a:pt x="21487" y="14051"/>
                    </a:lnTo>
                    <a:lnTo>
                      <a:pt x="21419" y="13909"/>
                    </a:lnTo>
                    <a:lnTo>
                      <a:pt x="21351" y="13768"/>
                    </a:lnTo>
                    <a:lnTo>
                      <a:pt x="21204" y="13500"/>
                    </a:lnTo>
                    <a:lnTo>
                      <a:pt x="21035" y="13287"/>
                    </a:lnTo>
                    <a:lnTo>
                      <a:pt x="20809" y="13090"/>
                    </a:lnTo>
                    <a:lnTo>
                      <a:pt x="20594" y="12962"/>
                    </a:lnTo>
                    <a:lnTo>
                      <a:pt x="20357" y="12821"/>
                    </a:lnTo>
                    <a:lnTo>
                      <a:pt x="20120" y="12764"/>
                    </a:lnTo>
                    <a:lnTo>
                      <a:pt x="19882" y="12708"/>
                    </a:lnTo>
                    <a:lnTo>
                      <a:pt x="19645" y="12736"/>
                    </a:lnTo>
                    <a:lnTo>
                      <a:pt x="19430" y="12793"/>
                    </a:lnTo>
                    <a:lnTo>
                      <a:pt x="19227" y="12906"/>
                    </a:lnTo>
                    <a:lnTo>
                      <a:pt x="19148" y="12962"/>
                    </a:lnTo>
                    <a:lnTo>
                      <a:pt x="19058" y="13047"/>
                    </a:lnTo>
                    <a:lnTo>
                      <a:pt x="18990" y="13146"/>
                    </a:lnTo>
                    <a:lnTo>
                      <a:pt x="18911" y="13259"/>
                    </a:lnTo>
                    <a:lnTo>
                      <a:pt x="18775" y="13471"/>
                    </a:lnTo>
                    <a:lnTo>
                      <a:pt x="18628" y="13641"/>
                    </a:lnTo>
                    <a:lnTo>
                      <a:pt x="18470" y="13740"/>
                    </a:lnTo>
                    <a:lnTo>
                      <a:pt x="18301" y="13825"/>
                    </a:lnTo>
                    <a:lnTo>
                      <a:pt x="18143" y="13853"/>
                    </a:lnTo>
                    <a:lnTo>
                      <a:pt x="17973" y="13881"/>
                    </a:lnTo>
                    <a:lnTo>
                      <a:pt x="17804" y="13853"/>
                    </a:lnTo>
                    <a:lnTo>
                      <a:pt x="17646" y="13796"/>
                    </a:lnTo>
                    <a:lnTo>
                      <a:pt x="17499" y="13726"/>
                    </a:lnTo>
                    <a:lnTo>
                      <a:pt x="17341" y="13641"/>
                    </a:lnTo>
                    <a:lnTo>
                      <a:pt x="17216" y="13528"/>
                    </a:lnTo>
                    <a:lnTo>
                      <a:pt x="17103" y="13386"/>
                    </a:lnTo>
                    <a:lnTo>
                      <a:pt x="17024" y="13259"/>
                    </a:lnTo>
                    <a:lnTo>
                      <a:pt x="16934" y="13118"/>
                    </a:lnTo>
                    <a:lnTo>
                      <a:pt x="16889" y="12991"/>
                    </a:lnTo>
                    <a:lnTo>
                      <a:pt x="16889" y="12849"/>
                    </a:lnTo>
                    <a:lnTo>
                      <a:pt x="16889" y="12383"/>
                    </a:lnTo>
                    <a:lnTo>
                      <a:pt x="16889" y="11662"/>
                    </a:lnTo>
                    <a:lnTo>
                      <a:pt x="16889" y="10701"/>
                    </a:lnTo>
                    <a:lnTo>
                      <a:pt x="16889" y="9640"/>
                    </a:lnTo>
                    <a:lnTo>
                      <a:pt x="16889" y="8566"/>
                    </a:lnTo>
                    <a:lnTo>
                      <a:pt x="16889" y="7478"/>
                    </a:lnTo>
                    <a:lnTo>
                      <a:pt x="16889" y="6502"/>
                    </a:lnTo>
                    <a:lnTo>
                      <a:pt x="16889" y="5739"/>
                    </a:lnTo>
                    <a:lnTo>
                      <a:pt x="16674" y="5894"/>
                    </a:lnTo>
                    <a:lnTo>
                      <a:pt x="16414" y="6036"/>
                    </a:lnTo>
                    <a:lnTo>
                      <a:pt x="16154" y="6177"/>
                    </a:lnTo>
                    <a:lnTo>
                      <a:pt x="15849" y="6248"/>
                    </a:lnTo>
                    <a:lnTo>
                      <a:pt x="15544" y="6304"/>
                    </a:lnTo>
                    <a:lnTo>
                      <a:pt x="15217" y="6332"/>
                    </a:lnTo>
                    <a:lnTo>
                      <a:pt x="14866" y="6361"/>
                    </a:lnTo>
                    <a:lnTo>
                      <a:pt x="14550" y="6361"/>
                    </a:lnTo>
                    <a:lnTo>
                      <a:pt x="14200" y="6332"/>
                    </a:lnTo>
                    <a:lnTo>
                      <a:pt x="13850" y="6276"/>
                    </a:lnTo>
                    <a:lnTo>
                      <a:pt x="13522" y="6219"/>
                    </a:lnTo>
                    <a:lnTo>
                      <a:pt x="13206" y="6149"/>
                    </a:lnTo>
                    <a:lnTo>
                      <a:pt x="12901" y="6064"/>
                    </a:lnTo>
                    <a:lnTo>
                      <a:pt x="12618" y="5951"/>
                    </a:lnTo>
                    <a:lnTo>
                      <a:pt x="12358" y="5838"/>
                    </a:lnTo>
                    <a:lnTo>
                      <a:pt x="12121" y="5739"/>
                    </a:lnTo>
                    <a:lnTo>
                      <a:pt x="11941" y="5626"/>
                    </a:lnTo>
                    <a:lnTo>
                      <a:pt x="11794" y="5513"/>
                    </a:lnTo>
                    <a:lnTo>
                      <a:pt x="11658" y="5414"/>
                    </a:lnTo>
                    <a:lnTo>
                      <a:pt x="11556" y="5301"/>
                    </a:lnTo>
                    <a:lnTo>
                      <a:pt x="11466" y="5187"/>
                    </a:lnTo>
                    <a:lnTo>
                      <a:pt x="11398" y="5089"/>
                    </a:lnTo>
                    <a:lnTo>
                      <a:pt x="11376" y="4947"/>
                    </a:lnTo>
                    <a:lnTo>
                      <a:pt x="11353" y="4834"/>
                    </a:lnTo>
                    <a:lnTo>
                      <a:pt x="11353" y="4707"/>
                    </a:lnTo>
                    <a:lnTo>
                      <a:pt x="11376" y="4565"/>
                    </a:lnTo>
                    <a:lnTo>
                      <a:pt x="11443" y="4410"/>
                    </a:lnTo>
                    <a:lnTo>
                      <a:pt x="11511" y="4240"/>
                    </a:lnTo>
                    <a:lnTo>
                      <a:pt x="11703" y="3887"/>
                    </a:lnTo>
                    <a:lnTo>
                      <a:pt x="11986" y="3505"/>
                    </a:lnTo>
                    <a:lnTo>
                      <a:pt x="12144" y="3265"/>
                    </a:lnTo>
                    <a:lnTo>
                      <a:pt x="12246" y="3025"/>
                    </a:lnTo>
                    <a:lnTo>
                      <a:pt x="12336" y="2756"/>
                    </a:lnTo>
                    <a:lnTo>
                      <a:pt x="12404" y="2445"/>
                    </a:lnTo>
                    <a:lnTo>
                      <a:pt x="12438" y="2176"/>
                    </a:lnTo>
                    <a:lnTo>
                      <a:pt x="12438" y="1880"/>
                    </a:lnTo>
                    <a:lnTo>
                      <a:pt x="12404" y="1583"/>
                    </a:lnTo>
                    <a:lnTo>
                      <a:pt x="12336" y="1314"/>
                    </a:lnTo>
                    <a:lnTo>
                      <a:pt x="12246" y="1046"/>
                    </a:lnTo>
                    <a:lnTo>
                      <a:pt x="12099" y="791"/>
                    </a:lnTo>
                    <a:lnTo>
                      <a:pt x="12008" y="692"/>
                    </a:lnTo>
                    <a:lnTo>
                      <a:pt x="11918" y="579"/>
                    </a:lnTo>
                    <a:lnTo>
                      <a:pt x="11816" y="466"/>
                    </a:lnTo>
                    <a:lnTo>
                      <a:pt x="11703" y="381"/>
                    </a:lnTo>
                    <a:lnTo>
                      <a:pt x="11579" y="310"/>
                    </a:lnTo>
                    <a:lnTo>
                      <a:pt x="11443" y="226"/>
                    </a:lnTo>
                    <a:lnTo>
                      <a:pt x="11297" y="169"/>
                    </a:lnTo>
                    <a:lnTo>
                      <a:pt x="11138" y="113"/>
                    </a:lnTo>
                    <a:lnTo>
                      <a:pt x="10969" y="56"/>
                    </a:lnTo>
                    <a:lnTo>
                      <a:pt x="10800" y="28"/>
                    </a:lnTo>
                    <a:lnTo>
                      <a:pt x="10619" y="28"/>
                    </a:lnTo>
                    <a:lnTo>
                      <a:pt x="10404" y="28"/>
                    </a:lnTo>
                    <a:lnTo>
                      <a:pt x="10257" y="28"/>
                    </a:lnTo>
                    <a:lnTo>
                      <a:pt x="10076" y="56"/>
                    </a:lnTo>
                    <a:lnTo>
                      <a:pt x="9952" y="84"/>
                    </a:lnTo>
                    <a:lnTo>
                      <a:pt x="9794" y="141"/>
                    </a:lnTo>
                    <a:lnTo>
                      <a:pt x="9692" y="226"/>
                    </a:lnTo>
                    <a:lnTo>
                      <a:pt x="9557" y="282"/>
                    </a:lnTo>
                    <a:lnTo>
                      <a:pt x="9455" y="381"/>
                    </a:lnTo>
                    <a:lnTo>
                      <a:pt x="9365" y="466"/>
                    </a:lnTo>
                    <a:lnTo>
                      <a:pt x="9274" y="579"/>
                    </a:lnTo>
                    <a:lnTo>
                      <a:pt x="9184" y="692"/>
                    </a:lnTo>
                    <a:lnTo>
                      <a:pt x="9128" y="791"/>
                    </a:lnTo>
                    <a:lnTo>
                      <a:pt x="9060" y="932"/>
                    </a:lnTo>
                    <a:lnTo>
                      <a:pt x="8969" y="1201"/>
                    </a:lnTo>
                    <a:lnTo>
                      <a:pt x="8913" y="1498"/>
                    </a:lnTo>
                    <a:lnTo>
                      <a:pt x="8890" y="1795"/>
                    </a:lnTo>
                    <a:lnTo>
                      <a:pt x="8890" y="2120"/>
                    </a:lnTo>
                    <a:lnTo>
                      <a:pt x="8913" y="2445"/>
                    </a:lnTo>
                    <a:lnTo>
                      <a:pt x="8969" y="2756"/>
                    </a:lnTo>
                    <a:lnTo>
                      <a:pt x="9060" y="3081"/>
                    </a:lnTo>
                    <a:lnTo>
                      <a:pt x="9173" y="3378"/>
                    </a:lnTo>
                    <a:lnTo>
                      <a:pt x="9297" y="3647"/>
                    </a:lnTo>
                    <a:lnTo>
                      <a:pt x="9466" y="3887"/>
                    </a:lnTo>
                    <a:lnTo>
                      <a:pt x="9579" y="4085"/>
                    </a:lnTo>
                    <a:lnTo>
                      <a:pt x="9670" y="4269"/>
                    </a:lnTo>
                    <a:lnTo>
                      <a:pt x="9726" y="4467"/>
                    </a:lnTo>
                    <a:lnTo>
                      <a:pt x="9771" y="4650"/>
                    </a:lnTo>
                    <a:lnTo>
                      <a:pt x="9771" y="4834"/>
                    </a:lnTo>
                    <a:lnTo>
                      <a:pt x="9749" y="5032"/>
                    </a:lnTo>
                    <a:lnTo>
                      <a:pt x="9715" y="5216"/>
                    </a:lnTo>
                    <a:lnTo>
                      <a:pt x="9625" y="5385"/>
                    </a:lnTo>
                    <a:lnTo>
                      <a:pt x="9534" y="5513"/>
                    </a:lnTo>
                    <a:lnTo>
                      <a:pt x="9410" y="5626"/>
                    </a:lnTo>
                    <a:lnTo>
                      <a:pt x="9229" y="5710"/>
                    </a:lnTo>
                    <a:lnTo>
                      <a:pt x="9060" y="5767"/>
                    </a:lnTo>
                    <a:lnTo>
                      <a:pt x="8845" y="5767"/>
                    </a:lnTo>
                    <a:lnTo>
                      <a:pt x="8585" y="5739"/>
                    </a:lnTo>
                    <a:lnTo>
                      <a:pt x="8325" y="5654"/>
                    </a:lnTo>
                    <a:lnTo>
                      <a:pt x="8020" y="5513"/>
                    </a:lnTo>
                    <a:lnTo>
                      <a:pt x="7840" y="5442"/>
                    </a:lnTo>
                    <a:lnTo>
                      <a:pt x="7648" y="5385"/>
                    </a:lnTo>
                    <a:lnTo>
                      <a:pt x="7433" y="5329"/>
                    </a:lnTo>
                    <a:lnTo>
                      <a:pt x="7241" y="5301"/>
                    </a:lnTo>
                    <a:lnTo>
                      <a:pt x="6755" y="5301"/>
                    </a:lnTo>
                    <a:lnTo>
                      <a:pt x="6281" y="5329"/>
                    </a:lnTo>
                    <a:lnTo>
                      <a:pt x="5784" y="5385"/>
                    </a:lnTo>
                    <a:lnTo>
                      <a:pt x="5264" y="5498"/>
                    </a:lnTo>
                    <a:lnTo>
                      <a:pt x="4744" y="5597"/>
                    </a:lnTo>
                    <a:lnTo>
                      <a:pt x="4247" y="5739"/>
                    </a:lnTo>
                    <a:lnTo>
                      <a:pt x="4202" y="5894"/>
                    </a:lnTo>
                    <a:lnTo>
                      <a:pt x="4202" y="6191"/>
                    </a:lnTo>
                    <a:lnTo>
                      <a:pt x="4202" y="6545"/>
                    </a:lnTo>
                    <a:lnTo>
                      <a:pt x="4225" y="6954"/>
                    </a:lnTo>
                    <a:lnTo>
                      <a:pt x="4315" y="7930"/>
                    </a:lnTo>
                    <a:lnTo>
                      <a:pt x="4394" y="9018"/>
                    </a:lnTo>
                    <a:lnTo>
                      <a:pt x="4439" y="9570"/>
                    </a:lnTo>
                    <a:lnTo>
                      <a:pt x="4462" y="10107"/>
                    </a:lnTo>
                    <a:lnTo>
                      <a:pt x="4484" y="10630"/>
                    </a:lnTo>
                    <a:lnTo>
                      <a:pt x="4507" y="11082"/>
                    </a:lnTo>
                    <a:lnTo>
                      <a:pt x="4484" y="11520"/>
                    </a:lnTo>
                    <a:lnTo>
                      <a:pt x="4439" y="11874"/>
                    </a:lnTo>
                    <a:lnTo>
                      <a:pt x="4394" y="12029"/>
                    </a:lnTo>
                    <a:lnTo>
                      <a:pt x="4349" y="12171"/>
                    </a:lnTo>
                    <a:lnTo>
                      <a:pt x="4315" y="12284"/>
                    </a:lnTo>
                    <a:lnTo>
                      <a:pt x="4247" y="12354"/>
                    </a:lnTo>
                    <a:close/>
                  </a:path>
                </a:pathLst>
              </a:custGeom>
              <a:solidFill>
                <a:srgbClr val="FFFFCC"/>
              </a:solidFill>
              <a:ln w="285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9" name="Puzzle4"/>
              <p:cNvSpPr>
                <a:spLocks noEditPoints="1" noChangeArrowheads="1"/>
              </p:cNvSpPr>
              <p:nvPr/>
            </p:nvSpPr>
            <p:spPr bwMode="auto">
              <a:xfrm>
                <a:off x="469" y="1395"/>
                <a:ext cx="1072" cy="1763"/>
              </a:xfrm>
              <a:custGeom>
                <a:avLst/>
                <a:gdLst>
                  <a:gd name="T0" fmla="*/ 8307 w 21600"/>
                  <a:gd name="T1" fmla="*/ 11593 h 21600"/>
                  <a:gd name="T2" fmla="*/ 453 w 21600"/>
                  <a:gd name="T3" fmla="*/ 16938 h 21600"/>
                  <a:gd name="T4" fmla="*/ 11500 w 21600"/>
                  <a:gd name="T5" fmla="*/ 21600 h 21600"/>
                  <a:gd name="T6" fmla="*/ 20920 w 21600"/>
                  <a:gd name="T7" fmla="*/ 16751 h 21600"/>
                  <a:gd name="T8" fmla="*/ 13972 w 21600"/>
                  <a:gd name="T9" fmla="*/ 10888 h 21600"/>
                  <a:gd name="T10" fmla="*/ 21033 w 21600"/>
                  <a:gd name="T11" fmla="*/ 4716 h 21600"/>
                  <a:gd name="T12" fmla="*/ 11102 w 21600"/>
                  <a:gd name="T13" fmla="*/ 11 h 21600"/>
                  <a:gd name="T14" fmla="*/ 453 w 21600"/>
                  <a:gd name="T15" fmla="*/ 4716 h 21600"/>
                  <a:gd name="T16" fmla="*/ 2076 w 21600"/>
                  <a:gd name="T17" fmla="*/ 5664 h 21600"/>
                  <a:gd name="T18" fmla="*/ 20203 w 21600"/>
                  <a:gd name="T19" fmla="*/ 1598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T16" t="T17" r="T18" b="T19"/>
                <a:pathLst>
                  <a:path w="21600" h="21600">
                    <a:moveTo>
                      <a:pt x="3813" y="10590"/>
                    </a:moveTo>
                    <a:lnTo>
                      <a:pt x="3927" y="10513"/>
                    </a:lnTo>
                    <a:lnTo>
                      <a:pt x="4078" y="10425"/>
                    </a:lnTo>
                    <a:lnTo>
                      <a:pt x="4210" y="10359"/>
                    </a:lnTo>
                    <a:lnTo>
                      <a:pt x="4361" y="10315"/>
                    </a:lnTo>
                    <a:lnTo>
                      <a:pt x="4682" y="10237"/>
                    </a:lnTo>
                    <a:lnTo>
                      <a:pt x="5041" y="10193"/>
                    </a:lnTo>
                    <a:lnTo>
                      <a:pt x="5456" y="10171"/>
                    </a:lnTo>
                    <a:lnTo>
                      <a:pt x="5853" y="10193"/>
                    </a:lnTo>
                    <a:lnTo>
                      <a:pt x="6249" y="10260"/>
                    </a:lnTo>
                    <a:lnTo>
                      <a:pt x="6646" y="10337"/>
                    </a:lnTo>
                    <a:lnTo>
                      <a:pt x="7004" y="10469"/>
                    </a:lnTo>
                    <a:lnTo>
                      <a:pt x="7363" y="10612"/>
                    </a:lnTo>
                    <a:lnTo>
                      <a:pt x="7665" y="10788"/>
                    </a:lnTo>
                    <a:lnTo>
                      <a:pt x="7911" y="10998"/>
                    </a:lnTo>
                    <a:lnTo>
                      <a:pt x="8024" y="11097"/>
                    </a:lnTo>
                    <a:lnTo>
                      <a:pt x="8137" y="11207"/>
                    </a:lnTo>
                    <a:lnTo>
                      <a:pt x="8194" y="11340"/>
                    </a:lnTo>
                    <a:lnTo>
                      <a:pt x="8269" y="11461"/>
                    </a:lnTo>
                    <a:lnTo>
                      <a:pt x="8307" y="11593"/>
                    </a:lnTo>
                    <a:lnTo>
                      <a:pt x="8307" y="11714"/>
                    </a:lnTo>
                    <a:lnTo>
                      <a:pt x="8307" y="11868"/>
                    </a:lnTo>
                    <a:lnTo>
                      <a:pt x="8307" y="12012"/>
                    </a:lnTo>
                    <a:lnTo>
                      <a:pt x="8194" y="12265"/>
                    </a:lnTo>
                    <a:lnTo>
                      <a:pt x="8062" y="12519"/>
                    </a:lnTo>
                    <a:lnTo>
                      <a:pt x="7873" y="12706"/>
                    </a:lnTo>
                    <a:lnTo>
                      <a:pt x="7627" y="12904"/>
                    </a:lnTo>
                    <a:lnTo>
                      <a:pt x="7363" y="13048"/>
                    </a:lnTo>
                    <a:lnTo>
                      <a:pt x="7080" y="13180"/>
                    </a:lnTo>
                    <a:lnTo>
                      <a:pt x="6759" y="13257"/>
                    </a:lnTo>
                    <a:lnTo>
                      <a:pt x="6419" y="13345"/>
                    </a:lnTo>
                    <a:lnTo>
                      <a:pt x="6098" y="13389"/>
                    </a:lnTo>
                    <a:lnTo>
                      <a:pt x="5739" y="13389"/>
                    </a:lnTo>
                    <a:lnTo>
                      <a:pt x="5418" y="13389"/>
                    </a:lnTo>
                    <a:lnTo>
                      <a:pt x="5079" y="13345"/>
                    </a:lnTo>
                    <a:lnTo>
                      <a:pt x="4758" y="13301"/>
                    </a:lnTo>
                    <a:lnTo>
                      <a:pt x="4474" y="13213"/>
                    </a:lnTo>
                    <a:lnTo>
                      <a:pt x="4172" y="13114"/>
                    </a:lnTo>
                    <a:lnTo>
                      <a:pt x="3965" y="12982"/>
                    </a:lnTo>
                    <a:lnTo>
                      <a:pt x="3738" y="12838"/>
                    </a:lnTo>
                    <a:lnTo>
                      <a:pt x="3493" y="12706"/>
                    </a:lnTo>
                    <a:lnTo>
                      <a:pt x="3228" y="12607"/>
                    </a:lnTo>
                    <a:lnTo>
                      <a:pt x="2945" y="12519"/>
                    </a:lnTo>
                    <a:lnTo>
                      <a:pt x="2700" y="12431"/>
                    </a:lnTo>
                    <a:lnTo>
                      <a:pt x="2397" y="12375"/>
                    </a:lnTo>
                    <a:lnTo>
                      <a:pt x="2152" y="12331"/>
                    </a:lnTo>
                    <a:lnTo>
                      <a:pt x="1888" y="12309"/>
                    </a:lnTo>
                    <a:lnTo>
                      <a:pt x="1642" y="12309"/>
                    </a:lnTo>
                    <a:lnTo>
                      <a:pt x="1397" y="12331"/>
                    </a:lnTo>
                    <a:lnTo>
                      <a:pt x="1170" y="12397"/>
                    </a:lnTo>
                    <a:lnTo>
                      <a:pt x="962" y="12453"/>
                    </a:lnTo>
                    <a:lnTo>
                      <a:pt x="774" y="12563"/>
                    </a:lnTo>
                    <a:lnTo>
                      <a:pt x="623" y="12684"/>
                    </a:lnTo>
                    <a:lnTo>
                      <a:pt x="528" y="12838"/>
                    </a:lnTo>
                    <a:lnTo>
                      <a:pt x="453" y="13026"/>
                    </a:lnTo>
                    <a:lnTo>
                      <a:pt x="339" y="13477"/>
                    </a:lnTo>
                    <a:lnTo>
                      <a:pt x="226" y="13984"/>
                    </a:lnTo>
                    <a:lnTo>
                      <a:pt x="151" y="14535"/>
                    </a:lnTo>
                    <a:lnTo>
                      <a:pt x="113" y="15075"/>
                    </a:lnTo>
                    <a:lnTo>
                      <a:pt x="113" y="15626"/>
                    </a:lnTo>
                    <a:lnTo>
                      <a:pt x="151" y="16133"/>
                    </a:lnTo>
                    <a:lnTo>
                      <a:pt x="188" y="16376"/>
                    </a:lnTo>
                    <a:lnTo>
                      <a:pt x="264" y="16585"/>
                    </a:lnTo>
                    <a:lnTo>
                      <a:pt x="339" y="16773"/>
                    </a:lnTo>
                    <a:lnTo>
                      <a:pt x="453" y="16938"/>
                    </a:lnTo>
                    <a:lnTo>
                      <a:pt x="1095" y="16883"/>
                    </a:lnTo>
                    <a:lnTo>
                      <a:pt x="1963" y="16795"/>
                    </a:lnTo>
                    <a:lnTo>
                      <a:pt x="2945" y="16751"/>
                    </a:lnTo>
                    <a:lnTo>
                      <a:pt x="3965" y="16706"/>
                    </a:lnTo>
                    <a:lnTo>
                      <a:pt x="5022" y="16684"/>
                    </a:lnTo>
                    <a:lnTo>
                      <a:pt x="5947" y="16684"/>
                    </a:lnTo>
                    <a:lnTo>
                      <a:pt x="6759" y="16706"/>
                    </a:lnTo>
                    <a:lnTo>
                      <a:pt x="7363" y="16751"/>
                    </a:lnTo>
                    <a:lnTo>
                      <a:pt x="7948" y="16839"/>
                    </a:lnTo>
                    <a:lnTo>
                      <a:pt x="8458" y="16916"/>
                    </a:lnTo>
                    <a:lnTo>
                      <a:pt x="8893" y="17026"/>
                    </a:lnTo>
                    <a:lnTo>
                      <a:pt x="9289" y="17158"/>
                    </a:lnTo>
                    <a:lnTo>
                      <a:pt x="9572" y="17280"/>
                    </a:lnTo>
                    <a:lnTo>
                      <a:pt x="9799" y="17412"/>
                    </a:lnTo>
                    <a:lnTo>
                      <a:pt x="9969" y="17555"/>
                    </a:lnTo>
                    <a:lnTo>
                      <a:pt x="10120" y="17687"/>
                    </a:lnTo>
                    <a:lnTo>
                      <a:pt x="10158" y="17831"/>
                    </a:lnTo>
                    <a:lnTo>
                      <a:pt x="10195" y="17974"/>
                    </a:lnTo>
                    <a:lnTo>
                      <a:pt x="10158" y="18128"/>
                    </a:lnTo>
                    <a:lnTo>
                      <a:pt x="10082" y="18271"/>
                    </a:lnTo>
                    <a:lnTo>
                      <a:pt x="9969" y="18426"/>
                    </a:lnTo>
                    <a:lnTo>
                      <a:pt x="9837" y="18569"/>
                    </a:lnTo>
                    <a:lnTo>
                      <a:pt x="9648" y="18701"/>
                    </a:lnTo>
                    <a:lnTo>
                      <a:pt x="9440" y="18822"/>
                    </a:lnTo>
                    <a:lnTo>
                      <a:pt x="9213" y="18999"/>
                    </a:lnTo>
                    <a:lnTo>
                      <a:pt x="9044" y="19186"/>
                    </a:lnTo>
                    <a:lnTo>
                      <a:pt x="8893" y="19395"/>
                    </a:lnTo>
                    <a:lnTo>
                      <a:pt x="8817" y="19627"/>
                    </a:lnTo>
                    <a:lnTo>
                      <a:pt x="8779" y="19858"/>
                    </a:lnTo>
                    <a:lnTo>
                      <a:pt x="8779" y="20112"/>
                    </a:lnTo>
                    <a:lnTo>
                      <a:pt x="8855" y="20354"/>
                    </a:lnTo>
                    <a:lnTo>
                      <a:pt x="8968" y="20586"/>
                    </a:lnTo>
                    <a:lnTo>
                      <a:pt x="9138" y="20817"/>
                    </a:lnTo>
                    <a:lnTo>
                      <a:pt x="9365" y="21026"/>
                    </a:lnTo>
                    <a:lnTo>
                      <a:pt x="9610" y="21192"/>
                    </a:lnTo>
                    <a:lnTo>
                      <a:pt x="9950" y="21368"/>
                    </a:lnTo>
                    <a:lnTo>
                      <a:pt x="10120" y="21445"/>
                    </a:lnTo>
                    <a:lnTo>
                      <a:pt x="10346" y="21511"/>
                    </a:lnTo>
                    <a:lnTo>
                      <a:pt x="10516" y="21555"/>
                    </a:lnTo>
                    <a:lnTo>
                      <a:pt x="10743" y="21600"/>
                    </a:lnTo>
                    <a:lnTo>
                      <a:pt x="10988" y="21644"/>
                    </a:lnTo>
                    <a:lnTo>
                      <a:pt x="11215" y="21666"/>
                    </a:lnTo>
                    <a:lnTo>
                      <a:pt x="11498" y="21666"/>
                    </a:lnTo>
                    <a:lnTo>
                      <a:pt x="11762" y="21666"/>
                    </a:lnTo>
                    <a:lnTo>
                      <a:pt x="12253" y="21644"/>
                    </a:lnTo>
                    <a:lnTo>
                      <a:pt x="12763" y="21577"/>
                    </a:lnTo>
                    <a:lnTo>
                      <a:pt x="13197" y="21467"/>
                    </a:lnTo>
                    <a:lnTo>
                      <a:pt x="13556" y="21346"/>
                    </a:lnTo>
                    <a:lnTo>
                      <a:pt x="13896" y="21192"/>
                    </a:lnTo>
                    <a:lnTo>
                      <a:pt x="14179" y="21026"/>
                    </a:lnTo>
                    <a:lnTo>
                      <a:pt x="14444" y="20839"/>
                    </a:lnTo>
                    <a:lnTo>
                      <a:pt x="14576" y="20641"/>
                    </a:lnTo>
                    <a:lnTo>
                      <a:pt x="14727" y="20431"/>
                    </a:lnTo>
                    <a:lnTo>
                      <a:pt x="14765" y="20200"/>
                    </a:lnTo>
                    <a:lnTo>
                      <a:pt x="14802" y="19991"/>
                    </a:lnTo>
                    <a:lnTo>
                      <a:pt x="14727" y="19759"/>
                    </a:lnTo>
                    <a:lnTo>
                      <a:pt x="14613" y="19550"/>
                    </a:lnTo>
                    <a:lnTo>
                      <a:pt x="14444" y="19307"/>
                    </a:lnTo>
                    <a:lnTo>
                      <a:pt x="14217" y="19098"/>
                    </a:lnTo>
                    <a:lnTo>
                      <a:pt x="13934" y="18911"/>
                    </a:lnTo>
                    <a:lnTo>
                      <a:pt x="13669" y="18745"/>
                    </a:lnTo>
                    <a:lnTo>
                      <a:pt x="13462" y="18547"/>
                    </a:lnTo>
                    <a:lnTo>
                      <a:pt x="13311" y="18337"/>
                    </a:lnTo>
                    <a:lnTo>
                      <a:pt x="13197" y="18150"/>
                    </a:lnTo>
                    <a:lnTo>
                      <a:pt x="13122" y="17941"/>
                    </a:lnTo>
                    <a:lnTo>
                      <a:pt x="13122" y="17720"/>
                    </a:lnTo>
                    <a:lnTo>
                      <a:pt x="13122" y="17533"/>
                    </a:lnTo>
                    <a:lnTo>
                      <a:pt x="13197" y="17346"/>
                    </a:lnTo>
                    <a:lnTo>
                      <a:pt x="13273" y="17158"/>
                    </a:lnTo>
                    <a:lnTo>
                      <a:pt x="13386" y="16982"/>
                    </a:lnTo>
                    <a:lnTo>
                      <a:pt x="13537" y="16839"/>
                    </a:lnTo>
                    <a:lnTo>
                      <a:pt x="13707" y="16706"/>
                    </a:lnTo>
                    <a:lnTo>
                      <a:pt x="13896" y="16607"/>
                    </a:lnTo>
                    <a:lnTo>
                      <a:pt x="14104" y="16519"/>
                    </a:lnTo>
                    <a:lnTo>
                      <a:pt x="14330" y="16453"/>
                    </a:lnTo>
                    <a:lnTo>
                      <a:pt x="14538" y="16431"/>
                    </a:lnTo>
                    <a:lnTo>
                      <a:pt x="14897" y="16453"/>
                    </a:lnTo>
                    <a:lnTo>
                      <a:pt x="15406" y="16497"/>
                    </a:lnTo>
                    <a:lnTo>
                      <a:pt x="16105" y="16541"/>
                    </a:lnTo>
                    <a:lnTo>
                      <a:pt x="16898" y="16607"/>
                    </a:lnTo>
                    <a:lnTo>
                      <a:pt x="17804" y="16651"/>
                    </a:lnTo>
                    <a:lnTo>
                      <a:pt x="18786" y="16684"/>
                    </a:lnTo>
                    <a:lnTo>
                      <a:pt x="19844" y="16728"/>
                    </a:lnTo>
                    <a:lnTo>
                      <a:pt x="20920" y="16751"/>
                    </a:lnTo>
                    <a:lnTo>
                      <a:pt x="21109" y="16497"/>
                    </a:lnTo>
                    <a:lnTo>
                      <a:pt x="21241" y="16222"/>
                    </a:lnTo>
                    <a:lnTo>
                      <a:pt x="21392" y="15946"/>
                    </a:lnTo>
                    <a:lnTo>
                      <a:pt x="21467" y="15648"/>
                    </a:lnTo>
                    <a:lnTo>
                      <a:pt x="21543" y="15351"/>
                    </a:lnTo>
                    <a:lnTo>
                      <a:pt x="21618" y="15042"/>
                    </a:lnTo>
                    <a:lnTo>
                      <a:pt x="21618" y="14745"/>
                    </a:lnTo>
                    <a:lnTo>
                      <a:pt x="21618" y="14447"/>
                    </a:lnTo>
                    <a:lnTo>
                      <a:pt x="21618" y="14150"/>
                    </a:lnTo>
                    <a:lnTo>
                      <a:pt x="21581" y="13852"/>
                    </a:lnTo>
                    <a:lnTo>
                      <a:pt x="21505" y="13577"/>
                    </a:lnTo>
                    <a:lnTo>
                      <a:pt x="21430" y="13301"/>
                    </a:lnTo>
                    <a:lnTo>
                      <a:pt x="21354" y="13048"/>
                    </a:lnTo>
                    <a:lnTo>
                      <a:pt x="21241" y="12816"/>
                    </a:lnTo>
                    <a:lnTo>
                      <a:pt x="21146" y="12607"/>
                    </a:lnTo>
                    <a:lnTo>
                      <a:pt x="21033" y="12431"/>
                    </a:lnTo>
                    <a:lnTo>
                      <a:pt x="20920" y="12265"/>
                    </a:lnTo>
                    <a:lnTo>
                      <a:pt x="20769" y="12144"/>
                    </a:lnTo>
                    <a:lnTo>
                      <a:pt x="20637" y="12034"/>
                    </a:lnTo>
                    <a:lnTo>
                      <a:pt x="20486" y="11946"/>
                    </a:lnTo>
                    <a:lnTo>
                      <a:pt x="20297" y="11891"/>
                    </a:lnTo>
                    <a:lnTo>
                      <a:pt x="20165" y="11846"/>
                    </a:lnTo>
                    <a:lnTo>
                      <a:pt x="19976" y="11824"/>
                    </a:lnTo>
                    <a:lnTo>
                      <a:pt x="19806" y="11802"/>
                    </a:lnTo>
                    <a:lnTo>
                      <a:pt x="19390" y="11824"/>
                    </a:lnTo>
                    <a:lnTo>
                      <a:pt x="18956" y="11891"/>
                    </a:lnTo>
                    <a:lnTo>
                      <a:pt x="18503" y="11968"/>
                    </a:lnTo>
                    <a:lnTo>
                      <a:pt x="17993" y="12078"/>
                    </a:lnTo>
                    <a:lnTo>
                      <a:pt x="17653" y="12144"/>
                    </a:lnTo>
                    <a:lnTo>
                      <a:pt x="17332" y="12199"/>
                    </a:lnTo>
                    <a:lnTo>
                      <a:pt x="17049" y="12221"/>
                    </a:lnTo>
                    <a:lnTo>
                      <a:pt x="16747" y="12243"/>
                    </a:lnTo>
                    <a:lnTo>
                      <a:pt x="16464" y="12243"/>
                    </a:lnTo>
                    <a:lnTo>
                      <a:pt x="16218" y="12243"/>
                    </a:lnTo>
                    <a:lnTo>
                      <a:pt x="15992" y="12221"/>
                    </a:lnTo>
                    <a:lnTo>
                      <a:pt x="15746" y="12199"/>
                    </a:lnTo>
                    <a:lnTo>
                      <a:pt x="15520" y="12155"/>
                    </a:lnTo>
                    <a:lnTo>
                      <a:pt x="15350" y="12122"/>
                    </a:lnTo>
                    <a:lnTo>
                      <a:pt x="15161" y="12056"/>
                    </a:lnTo>
                    <a:lnTo>
                      <a:pt x="14972" y="11990"/>
                    </a:lnTo>
                    <a:lnTo>
                      <a:pt x="14689" y="11846"/>
                    </a:lnTo>
                    <a:lnTo>
                      <a:pt x="14444" y="11670"/>
                    </a:lnTo>
                    <a:lnTo>
                      <a:pt x="14255" y="11483"/>
                    </a:lnTo>
                    <a:lnTo>
                      <a:pt x="14104" y="11295"/>
                    </a:lnTo>
                    <a:lnTo>
                      <a:pt x="14028" y="11086"/>
                    </a:lnTo>
                    <a:lnTo>
                      <a:pt x="13972" y="10888"/>
                    </a:lnTo>
                    <a:lnTo>
                      <a:pt x="13972" y="10700"/>
                    </a:lnTo>
                    <a:lnTo>
                      <a:pt x="14009" y="10513"/>
                    </a:lnTo>
                    <a:lnTo>
                      <a:pt x="14066" y="10359"/>
                    </a:lnTo>
                    <a:lnTo>
                      <a:pt x="14179" y="10215"/>
                    </a:lnTo>
                    <a:lnTo>
                      <a:pt x="14406" y="10006"/>
                    </a:lnTo>
                    <a:lnTo>
                      <a:pt x="14651" y="9830"/>
                    </a:lnTo>
                    <a:lnTo>
                      <a:pt x="14878" y="9686"/>
                    </a:lnTo>
                    <a:lnTo>
                      <a:pt x="15123" y="9554"/>
                    </a:lnTo>
                    <a:lnTo>
                      <a:pt x="15350" y="9477"/>
                    </a:lnTo>
                    <a:lnTo>
                      <a:pt x="15558" y="9411"/>
                    </a:lnTo>
                    <a:lnTo>
                      <a:pt x="15803" y="9345"/>
                    </a:lnTo>
                    <a:lnTo>
                      <a:pt x="16030" y="9323"/>
                    </a:lnTo>
                    <a:lnTo>
                      <a:pt x="16256" y="9301"/>
                    </a:lnTo>
                    <a:lnTo>
                      <a:pt x="16464" y="9323"/>
                    </a:lnTo>
                    <a:lnTo>
                      <a:pt x="16690" y="9345"/>
                    </a:lnTo>
                    <a:lnTo>
                      <a:pt x="16898" y="9367"/>
                    </a:lnTo>
                    <a:lnTo>
                      <a:pt x="17332" y="9477"/>
                    </a:lnTo>
                    <a:lnTo>
                      <a:pt x="17767" y="9598"/>
                    </a:lnTo>
                    <a:lnTo>
                      <a:pt x="18163" y="9731"/>
                    </a:lnTo>
                    <a:lnTo>
                      <a:pt x="18597" y="9874"/>
                    </a:lnTo>
                    <a:lnTo>
                      <a:pt x="18994" y="10006"/>
                    </a:lnTo>
                    <a:lnTo>
                      <a:pt x="19428" y="10083"/>
                    </a:lnTo>
                    <a:lnTo>
                      <a:pt x="19617" y="10127"/>
                    </a:lnTo>
                    <a:lnTo>
                      <a:pt x="19844" y="10149"/>
                    </a:lnTo>
                    <a:lnTo>
                      <a:pt x="20013" y="10149"/>
                    </a:lnTo>
                    <a:lnTo>
                      <a:pt x="20240" y="10127"/>
                    </a:lnTo>
                    <a:lnTo>
                      <a:pt x="20410" y="10105"/>
                    </a:lnTo>
                    <a:lnTo>
                      <a:pt x="20637" y="10061"/>
                    </a:lnTo>
                    <a:lnTo>
                      <a:pt x="20844" y="9984"/>
                    </a:lnTo>
                    <a:lnTo>
                      <a:pt x="21033" y="9896"/>
                    </a:lnTo>
                    <a:lnTo>
                      <a:pt x="21146" y="9830"/>
                    </a:lnTo>
                    <a:lnTo>
                      <a:pt x="21203" y="9753"/>
                    </a:lnTo>
                    <a:lnTo>
                      <a:pt x="21279" y="9642"/>
                    </a:lnTo>
                    <a:lnTo>
                      <a:pt x="21354" y="9521"/>
                    </a:lnTo>
                    <a:lnTo>
                      <a:pt x="21430" y="9246"/>
                    </a:lnTo>
                    <a:lnTo>
                      <a:pt x="21430" y="8904"/>
                    </a:lnTo>
                    <a:lnTo>
                      <a:pt x="21430" y="8540"/>
                    </a:lnTo>
                    <a:lnTo>
                      <a:pt x="21392" y="8144"/>
                    </a:lnTo>
                    <a:lnTo>
                      <a:pt x="21354" y="7714"/>
                    </a:lnTo>
                    <a:lnTo>
                      <a:pt x="21279" y="7295"/>
                    </a:lnTo>
                    <a:lnTo>
                      <a:pt x="21146" y="6446"/>
                    </a:lnTo>
                    <a:lnTo>
                      <a:pt x="20995" y="5686"/>
                    </a:lnTo>
                    <a:lnTo>
                      <a:pt x="20958" y="5366"/>
                    </a:lnTo>
                    <a:lnTo>
                      <a:pt x="20958" y="5091"/>
                    </a:lnTo>
                    <a:lnTo>
                      <a:pt x="20958" y="4860"/>
                    </a:lnTo>
                    <a:lnTo>
                      <a:pt x="21033" y="4716"/>
                    </a:lnTo>
                    <a:lnTo>
                      <a:pt x="20637" y="4860"/>
                    </a:lnTo>
                    <a:lnTo>
                      <a:pt x="20127" y="4992"/>
                    </a:lnTo>
                    <a:lnTo>
                      <a:pt x="19617" y="5069"/>
                    </a:lnTo>
                    <a:lnTo>
                      <a:pt x="19032" y="5157"/>
                    </a:lnTo>
                    <a:lnTo>
                      <a:pt x="18465" y="5201"/>
                    </a:lnTo>
                    <a:lnTo>
                      <a:pt x="17842" y="5245"/>
                    </a:lnTo>
                    <a:lnTo>
                      <a:pt x="17219" y="5267"/>
                    </a:lnTo>
                    <a:lnTo>
                      <a:pt x="16615" y="5267"/>
                    </a:lnTo>
                    <a:lnTo>
                      <a:pt x="15992" y="5245"/>
                    </a:lnTo>
                    <a:lnTo>
                      <a:pt x="15369" y="5201"/>
                    </a:lnTo>
                    <a:lnTo>
                      <a:pt x="14840" y="5157"/>
                    </a:lnTo>
                    <a:lnTo>
                      <a:pt x="14293" y="5091"/>
                    </a:lnTo>
                    <a:lnTo>
                      <a:pt x="13783" y="5014"/>
                    </a:lnTo>
                    <a:lnTo>
                      <a:pt x="13386" y="4926"/>
                    </a:lnTo>
                    <a:lnTo>
                      <a:pt x="13027" y="4815"/>
                    </a:lnTo>
                    <a:lnTo>
                      <a:pt x="12725" y="4716"/>
                    </a:lnTo>
                    <a:lnTo>
                      <a:pt x="12480" y="4606"/>
                    </a:lnTo>
                    <a:lnTo>
                      <a:pt x="12291" y="4496"/>
                    </a:lnTo>
                    <a:lnTo>
                      <a:pt x="12197" y="4397"/>
                    </a:lnTo>
                    <a:lnTo>
                      <a:pt x="12083" y="4286"/>
                    </a:lnTo>
                    <a:lnTo>
                      <a:pt x="12046" y="4187"/>
                    </a:lnTo>
                    <a:lnTo>
                      <a:pt x="12008" y="4077"/>
                    </a:lnTo>
                    <a:lnTo>
                      <a:pt x="12046" y="3967"/>
                    </a:lnTo>
                    <a:lnTo>
                      <a:pt x="12121" y="3868"/>
                    </a:lnTo>
                    <a:lnTo>
                      <a:pt x="12197" y="3735"/>
                    </a:lnTo>
                    <a:lnTo>
                      <a:pt x="12291" y="3614"/>
                    </a:lnTo>
                    <a:lnTo>
                      <a:pt x="12442" y="3482"/>
                    </a:lnTo>
                    <a:lnTo>
                      <a:pt x="12631" y="3361"/>
                    </a:lnTo>
                    <a:lnTo>
                      <a:pt x="13065" y="3085"/>
                    </a:lnTo>
                    <a:lnTo>
                      <a:pt x="13537" y="2766"/>
                    </a:lnTo>
                    <a:lnTo>
                      <a:pt x="13783" y="2578"/>
                    </a:lnTo>
                    <a:lnTo>
                      <a:pt x="13934" y="2380"/>
                    </a:lnTo>
                    <a:lnTo>
                      <a:pt x="14028" y="2171"/>
                    </a:lnTo>
                    <a:lnTo>
                      <a:pt x="14104" y="1961"/>
                    </a:lnTo>
                    <a:lnTo>
                      <a:pt x="14104" y="1730"/>
                    </a:lnTo>
                    <a:lnTo>
                      <a:pt x="14066" y="1498"/>
                    </a:lnTo>
                    <a:lnTo>
                      <a:pt x="13972" y="1267"/>
                    </a:lnTo>
                    <a:lnTo>
                      <a:pt x="13820" y="1057"/>
                    </a:lnTo>
                    <a:lnTo>
                      <a:pt x="13594" y="837"/>
                    </a:lnTo>
                    <a:lnTo>
                      <a:pt x="13386" y="628"/>
                    </a:lnTo>
                    <a:lnTo>
                      <a:pt x="13103" y="462"/>
                    </a:lnTo>
                    <a:lnTo>
                      <a:pt x="12763" y="308"/>
                    </a:lnTo>
                    <a:lnTo>
                      <a:pt x="12404" y="187"/>
                    </a:lnTo>
                    <a:lnTo>
                      <a:pt x="12008" y="77"/>
                    </a:lnTo>
                    <a:lnTo>
                      <a:pt x="11574" y="33"/>
                    </a:lnTo>
                    <a:lnTo>
                      <a:pt x="11102" y="11"/>
                    </a:lnTo>
                    <a:lnTo>
                      <a:pt x="10667" y="11"/>
                    </a:lnTo>
                    <a:lnTo>
                      <a:pt x="10233" y="77"/>
                    </a:lnTo>
                    <a:lnTo>
                      <a:pt x="9837" y="187"/>
                    </a:lnTo>
                    <a:lnTo>
                      <a:pt x="9440" y="286"/>
                    </a:lnTo>
                    <a:lnTo>
                      <a:pt x="9062" y="462"/>
                    </a:lnTo>
                    <a:lnTo>
                      <a:pt x="8741" y="628"/>
                    </a:lnTo>
                    <a:lnTo>
                      <a:pt x="8458" y="815"/>
                    </a:lnTo>
                    <a:lnTo>
                      <a:pt x="8232" y="1035"/>
                    </a:lnTo>
                    <a:lnTo>
                      <a:pt x="8062" y="1245"/>
                    </a:lnTo>
                    <a:lnTo>
                      <a:pt x="7911" y="1476"/>
                    </a:lnTo>
                    <a:lnTo>
                      <a:pt x="7835" y="1708"/>
                    </a:lnTo>
                    <a:lnTo>
                      <a:pt x="7797" y="1961"/>
                    </a:lnTo>
                    <a:lnTo>
                      <a:pt x="7835" y="2193"/>
                    </a:lnTo>
                    <a:lnTo>
                      <a:pt x="7948" y="2402"/>
                    </a:lnTo>
                    <a:lnTo>
                      <a:pt x="8062" y="2534"/>
                    </a:lnTo>
                    <a:lnTo>
                      <a:pt x="8175" y="2644"/>
                    </a:lnTo>
                    <a:lnTo>
                      <a:pt x="8269" y="2744"/>
                    </a:lnTo>
                    <a:lnTo>
                      <a:pt x="8420" y="2832"/>
                    </a:lnTo>
                    <a:lnTo>
                      <a:pt x="8704" y="3019"/>
                    </a:lnTo>
                    <a:lnTo>
                      <a:pt x="8968" y="3206"/>
                    </a:lnTo>
                    <a:lnTo>
                      <a:pt x="9138" y="3405"/>
                    </a:lnTo>
                    <a:lnTo>
                      <a:pt x="9327" y="3570"/>
                    </a:lnTo>
                    <a:lnTo>
                      <a:pt x="9440" y="3735"/>
                    </a:lnTo>
                    <a:lnTo>
                      <a:pt x="9516" y="3890"/>
                    </a:lnTo>
                    <a:lnTo>
                      <a:pt x="9534" y="4033"/>
                    </a:lnTo>
                    <a:lnTo>
                      <a:pt x="9534" y="4165"/>
                    </a:lnTo>
                    <a:lnTo>
                      <a:pt x="9516" y="4286"/>
                    </a:lnTo>
                    <a:lnTo>
                      <a:pt x="9440" y="4397"/>
                    </a:lnTo>
                    <a:lnTo>
                      <a:pt x="9327" y="4496"/>
                    </a:lnTo>
                    <a:lnTo>
                      <a:pt x="9176" y="4562"/>
                    </a:lnTo>
                    <a:lnTo>
                      <a:pt x="9006" y="4628"/>
                    </a:lnTo>
                    <a:lnTo>
                      <a:pt x="8779" y="4694"/>
                    </a:lnTo>
                    <a:lnTo>
                      <a:pt x="8534" y="4716"/>
                    </a:lnTo>
                    <a:lnTo>
                      <a:pt x="8232" y="4716"/>
                    </a:lnTo>
                    <a:lnTo>
                      <a:pt x="7118" y="4738"/>
                    </a:lnTo>
                    <a:lnTo>
                      <a:pt x="5947" y="4771"/>
                    </a:lnTo>
                    <a:lnTo>
                      <a:pt x="4795" y="4815"/>
                    </a:lnTo>
                    <a:lnTo>
                      <a:pt x="3681" y="4860"/>
                    </a:lnTo>
                    <a:lnTo>
                      <a:pt x="2662" y="4882"/>
                    </a:lnTo>
                    <a:lnTo>
                      <a:pt x="1755" y="4882"/>
                    </a:lnTo>
                    <a:lnTo>
                      <a:pt x="1359" y="4860"/>
                    </a:lnTo>
                    <a:lnTo>
                      <a:pt x="981" y="4837"/>
                    </a:lnTo>
                    <a:lnTo>
                      <a:pt x="698" y="4771"/>
                    </a:lnTo>
                    <a:lnTo>
                      <a:pt x="453" y="4716"/>
                    </a:lnTo>
                    <a:lnTo>
                      <a:pt x="453" y="5322"/>
                    </a:lnTo>
                    <a:lnTo>
                      <a:pt x="453" y="6083"/>
                    </a:lnTo>
                    <a:lnTo>
                      <a:pt x="453" y="6909"/>
                    </a:lnTo>
                    <a:lnTo>
                      <a:pt x="453" y="7780"/>
                    </a:lnTo>
                    <a:lnTo>
                      <a:pt x="453" y="8606"/>
                    </a:lnTo>
                    <a:lnTo>
                      <a:pt x="453" y="9345"/>
                    </a:lnTo>
                    <a:lnTo>
                      <a:pt x="453" y="9918"/>
                    </a:lnTo>
                    <a:lnTo>
                      <a:pt x="453" y="10282"/>
                    </a:lnTo>
                    <a:lnTo>
                      <a:pt x="490" y="10381"/>
                    </a:lnTo>
                    <a:lnTo>
                      <a:pt x="547" y="10491"/>
                    </a:lnTo>
                    <a:lnTo>
                      <a:pt x="660" y="10590"/>
                    </a:lnTo>
                    <a:lnTo>
                      <a:pt x="811" y="10700"/>
                    </a:lnTo>
                    <a:lnTo>
                      <a:pt x="981" y="10811"/>
                    </a:lnTo>
                    <a:lnTo>
                      <a:pt x="1208" y="10888"/>
                    </a:lnTo>
                    <a:lnTo>
                      <a:pt x="1453" y="10954"/>
                    </a:lnTo>
                    <a:lnTo>
                      <a:pt x="1718" y="11020"/>
                    </a:lnTo>
                    <a:lnTo>
                      <a:pt x="1963" y="11064"/>
                    </a:lnTo>
                    <a:lnTo>
                      <a:pt x="2265" y="11086"/>
                    </a:lnTo>
                    <a:lnTo>
                      <a:pt x="2548" y="11064"/>
                    </a:lnTo>
                    <a:lnTo>
                      <a:pt x="2794" y="11042"/>
                    </a:lnTo>
                    <a:lnTo>
                      <a:pt x="3096" y="10976"/>
                    </a:lnTo>
                    <a:lnTo>
                      <a:pt x="3341" y="10888"/>
                    </a:lnTo>
                    <a:lnTo>
                      <a:pt x="3606" y="10766"/>
                    </a:lnTo>
                    <a:lnTo>
                      <a:pt x="3813" y="10590"/>
                    </a:lnTo>
                    <a:close/>
                  </a:path>
                </a:pathLst>
              </a:custGeom>
              <a:solidFill>
                <a:srgbClr val="D8EBB3"/>
              </a:solidFill>
              <a:ln w="285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10" name="Puzzle1"/>
              <p:cNvSpPr>
                <a:spLocks noEditPoints="1" noChangeArrowheads="1"/>
              </p:cNvSpPr>
              <p:nvPr/>
            </p:nvSpPr>
            <p:spPr bwMode="auto">
              <a:xfrm rot="20100000">
                <a:off x="105" y="970"/>
                <a:ext cx="1800" cy="1051"/>
              </a:xfrm>
              <a:custGeom>
                <a:avLst/>
                <a:gdLst>
                  <a:gd name="T0" fmla="*/ 16740 w 21600"/>
                  <a:gd name="T1" fmla="*/ 21078 h 21600"/>
                  <a:gd name="T2" fmla="*/ 16976 w 21600"/>
                  <a:gd name="T3" fmla="*/ 521 h 21600"/>
                  <a:gd name="T4" fmla="*/ 4725 w 21600"/>
                  <a:gd name="T5" fmla="*/ 856 h 21600"/>
                  <a:gd name="T6" fmla="*/ 5040 w 21600"/>
                  <a:gd name="T7" fmla="*/ 21004 h 21600"/>
                  <a:gd name="T8" fmla="*/ 10811 w 21600"/>
                  <a:gd name="T9" fmla="*/ 12885 h 21600"/>
                  <a:gd name="T10" fmla="*/ 10845 w 21600"/>
                  <a:gd name="T11" fmla="*/ 8714 h 21600"/>
                  <a:gd name="T12" fmla="*/ 21600 w 21600"/>
                  <a:gd name="T13" fmla="*/ 10000 h 21600"/>
                  <a:gd name="T14" fmla="*/ 56 w 21600"/>
                  <a:gd name="T15" fmla="*/ 10000 h 21600"/>
                  <a:gd name="T16" fmla="*/ 6086 w 21600"/>
                  <a:gd name="T17" fmla="*/ 2569 h 21600"/>
                  <a:gd name="T18" fmla="*/ 16132 w 21600"/>
                  <a:gd name="T19" fmla="*/ 19552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T16" t="T17" r="T18" b="T19"/>
                <a:pathLst>
                  <a:path w="21600" h="21600">
                    <a:moveTo>
                      <a:pt x="9360" y="20836"/>
                    </a:moveTo>
                    <a:lnTo>
                      <a:pt x="9528" y="20836"/>
                    </a:lnTo>
                    <a:lnTo>
                      <a:pt x="9686" y="20762"/>
                    </a:lnTo>
                    <a:lnTo>
                      <a:pt x="9810" y="20687"/>
                    </a:lnTo>
                    <a:lnTo>
                      <a:pt x="9922" y="20575"/>
                    </a:lnTo>
                    <a:lnTo>
                      <a:pt x="10012" y="20426"/>
                    </a:lnTo>
                    <a:lnTo>
                      <a:pt x="10068" y="20296"/>
                    </a:lnTo>
                    <a:lnTo>
                      <a:pt x="10113" y="20110"/>
                    </a:lnTo>
                    <a:lnTo>
                      <a:pt x="10136" y="19905"/>
                    </a:lnTo>
                    <a:lnTo>
                      <a:pt x="10136" y="19682"/>
                    </a:lnTo>
                    <a:lnTo>
                      <a:pt x="10113" y="19440"/>
                    </a:lnTo>
                    <a:lnTo>
                      <a:pt x="10068" y="19142"/>
                    </a:lnTo>
                    <a:lnTo>
                      <a:pt x="10012" y="18900"/>
                    </a:lnTo>
                    <a:lnTo>
                      <a:pt x="9900" y="18620"/>
                    </a:lnTo>
                    <a:lnTo>
                      <a:pt x="9787" y="18285"/>
                    </a:lnTo>
                    <a:lnTo>
                      <a:pt x="9641" y="17968"/>
                    </a:lnTo>
                    <a:lnTo>
                      <a:pt x="9472" y="17652"/>
                    </a:lnTo>
                    <a:lnTo>
                      <a:pt x="9382" y="17466"/>
                    </a:lnTo>
                    <a:lnTo>
                      <a:pt x="9315" y="17298"/>
                    </a:lnTo>
                    <a:lnTo>
                      <a:pt x="9258" y="17112"/>
                    </a:lnTo>
                    <a:lnTo>
                      <a:pt x="9191" y="16926"/>
                    </a:lnTo>
                    <a:lnTo>
                      <a:pt x="9123" y="16535"/>
                    </a:lnTo>
                    <a:lnTo>
                      <a:pt x="9101" y="16144"/>
                    </a:lnTo>
                    <a:lnTo>
                      <a:pt x="9101" y="15753"/>
                    </a:lnTo>
                    <a:lnTo>
                      <a:pt x="9168" y="15362"/>
                    </a:lnTo>
                    <a:lnTo>
                      <a:pt x="9236" y="14971"/>
                    </a:lnTo>
                    <a:lnTo>
                      <a:pt x="9360" y="14580"/>
                    </a:lnTo>
                    <a:lnTo>
                      <a:pt x="9495" y="14244"/>
                    </a:lnTo>
                    <a:lnTo>
                      <a:pt x="9663" y="13891"/>
                    </a:lnTo>
                    <a:lnTo>
                      <a:pt x="9855" y="13611"/>
                    </a:lnTo>
                    <a:lnTo>
                      <a:pt x="10068" y="13351"/>
                    </a:lnTo>
                    <a:lnTo>
                      <a:pt x="10293" y="13146"/>
                    </a:lnTo>
                    <a:lnTo>
                      <a:pt x="10552" y="12997"/>
                    </a:lnTo>
                    <a:lnTo>
                      <a:pt x="10811" y="12885"/>
                    </a:lnTo>
                    <a:lnTo>
                      <a:pt x="11069" y="12866"/>
                    </a:lnTo>
                    <a:lnTo>
                      <a:pt x="11351" y="12885"/>
                    </a:lnTo>
                    <a:lnTo>
                      <a:pt x="11610" y="12997"/>
                    </a:lnTo>
                    <a:lnTo>
                      <a:pt x="11846" y="13183"/>
                    </a:lnTo>
                    <a:lnTo>
                      <a:pt x="12060" y="13388"/>
                    </a:lnTo>
                    <a:lnTo>
                      <a:pt x="12251" y="13648"/>
                    </a:lnTo>
                    <a:lnTo>
                      <a:pt x="12419" y="13928"/>
                    </a:lnTo>
                    <a:lnTo>
                      <a:pt x="12555" y="14244"/>
                    </a:lnTo>
                    <a:lnTo>
                      <a:pt x="12690" y="14617"/>
                    </a:lnTo>
                    <a:lnTo>
                      <a:pt x="12768" y="15008"/>
                    </a:lnTo>
                    <a:lnTo>
                      <a:pt x="12836" y="15399"/>
                    </a:lnTo>
                    <a:lnTo>
                      <a:pt x="12858" y="15753"/>
                    </a:lnTo>
                    <a:lnTo>
                      <a:pt x="12858" y="16144"/>
                    </a:lnTo>
                    <a:lnTo>
                      <a:pt x="12813" y="16535"/>
                    </a:lnTo>
                    <a:lnTo>
                      <a:pt x="12746" y="16888"/>
                    </a:lnTo>
                    <a:lnTo>
                      <a:pt x="12667" y="17224"/>
                    </a:lnTo>
                    <a:lnTo>
                      <a:pt x="12510" y="17503"/>
                    </a:lnTo>
                    <a:lnTo>
                      <a:pt x="12228" y="18043"/>
                    </a:lnTo>
                    <a:lnTo>
                      <a:pt x="11970" y="18546"/>
                    </a:lnTo>
                    <a:lnTo>
                      <a:pt x="11868" y="18751"/>
                    </a:lnTo>
                    <a:lnTo>
                      <a:pt x="11778" y="18974"/>
                    </a:lnTo>
                    <a:lnTo>
                      <a:pt x="11711" y="19179"/>
                    </a:lnTo>
                    <a:lnTo>
                      <a:pt x="11666" y="19365"/>
                    </a:lnTo>
                    <a:lnTo>
                      <a:pt x="11632" y="19570"/>
                    </a:lnTo>
                    <a:lnTo>
                      <a:pt x="11632" y="19756"/>
                    </a:lnTo>
                    <a:lnTo>
                      <a:pt x="11632" y="19942"/>
                    </a:lnTo>
                    <a:lnTo>
                      <a:pt x="11643" y="20110"/>
                    </a:lnTo>
                    <a:lnTo>
                      <a:pt x="11711" y="20296"/>
                    </a:lnTo>
                    <a:lnTo>
                      <a:pt x="11801" y="20464"/>
                    </a:lnTo>
                    <a:lnTo>
                      <a:pt x="11891" y="20650"/>
                    </a:lnTo>
                    <a:lnTo>
                      <a:pt x="12037" y="20836"/>
                    </a:lnTo>
                    <a:lnTo>
                      <a:pt x="12206" y="21004"/>
                    </a:lnTo>
                    <a:lnTo>
                      <a:pt x="12419" y="21190"/>
                    </a:lnTo>
                    <a:lnTo>
                      <a:pt x="12667" y="21320"/>
                    </a:lnTo>
                    <a:lnTo>
                      <a:pt x="12960" y="21432"/>
                    </a:lnTo>
                    <a:lnTo>
                      <a:pt x="13286" y="21544"/>
                    </a:lnTo>
                    <a:lnTo>
                      <a:pt x="13612" y="21655"/>
                    </a:lnTo>
                    <a:lnTo>
                      <a:pt x="13983" y="21693"/>
                    </a:lnTo>
                    <a:lnTo>
                      <a:pt x="14343" y="21730"/>
                    </a:lnTo>
                    <a:lnTo>
                      <a:pt x="14715" y="21730"/>
                    </a:lnTo>
                    <a:lnTo>
                      <a:pt x="15075" y="21730"/>
                    </a:lnTo>
                    <a:lnTo>
                      <a:pt x="15446" y="21655"/>
                    </a:lnTo>
                    <a:lnTo>
                      <a:pt x="15794" y="21581"/>
                    </a:lnTo>
                    <a:lnTo>
                      <a:pt x="16132" y="21432"/>
                    </a:lnTo>
                    <a:lnTo>
                      <a:pt x="16458" y="21302"/>
                    </a:lnTo>
                    <a:lnTo>
                      <a:pt x="16740" y="21078"/>
                    </a:lnTo>
                    <a:lnTo>
                      <a:pt x="16976" y="20836"/>
                    </a:lnTo>
                    <a:lnTo>
                      <a:pt x="17043" y="20650"/>
                    </a:lnTo>
                    <a:lnTo>
                      <a:pt x="17088" y="20426"/>
                    </a:lnTo>
                    <a:lnTo>
                      <a:pt x="17133" y="20222"/>
                    </a:lnTo>
                    <a:lnTo>
                      <a:pt x="17156" y="19980"/>
                    </a:lnTo>
                    <a:lnTo>
                      <a:pt x="17167" y="19477"/>
                    </a:lnTo>
                    <a:lnTo>
                      <a:pt x="17167" y="18974"/>
                    </a:lnTo>
                    <a:lnTo>
                      <a:pt x="17156" y="18397"/>
                    </a:lnTo>
                    <a:lnTo>
                      <a:pt x="17111" y="17820"/>
                    </a:lnTo>
                    <a:lnTo>
                      <a:pt x="17066" y="17261"/>
                    </a:lnTo>
                    <a:lnTo>
                      <a:pt x="16998" y="16646"/>
                    </a:lnTo>
                    <a:lnTo>
                      <a:pt x="16852" y="15511"/>
                    </a:lnTo>
                    <a:lnTo>
                      <a:pt x="16740" y="14393"/>
                    </a:lnTo>
                    <a:lnTo>
                      <a:pt x="16717" y="13928"/>
                    </a:lnTo>
                    <a:lnTo>
                      <a:pt x="16695" y="13462"/>
                    </a:lnTo>
                    <a:lnTo>
                      <a:pt x="16717" y="13071"/>
                    </a:lnTo>
                    <a:lnTo>
                      <a:pt x="16785" y="12755"/>
                    </a:lnTo>
                    <a:lnTo>
                      <a:pt x="16852" y="12419"/>
                    </a:lnTo>
                    <a:lnTo>
                      <a:pt x="16953" y="12140"/>
                    </a:lnTo>
                    <a:lnTo>
                      <a:pt x="17088" y="11898"/>
                    </a:lnTo>
                    <a:lnTo>
                      <a:pt x="17212" y="11675"/>
                    </a:lnTo>
                    <a:lnTo>
                      <a:pt x="17370" y="11470"/>
                    </a:lnTo>
                    <a:lnTo>
                      <a:pt x="17516" y="11284"/>
                    </a:lnTo>
                    <a:lnTo>
                      <a:pt x="17696" y="11135"/>
                    </a:lnTo>
                    <a:lnTo>
                      <a:pt x="17865" y="11042"/>
                    </a:lnTo>
                    <a:lnTo>
                      <a:pt x="18033" y="10930"/>
                    </a:lnTo>
                    <a:lnTo>
                      <a:pt x="18213" y="10893"/>
                    </a:lnTo>
                    <a:lnTo>
                      <a:pt x="18382" y="10893"/>
                    </a:lnTo>
                    <a:lnTo>
                      <a:pt x="18551" y="10967"/>
                    </a:lnTo>
                    <a:lnTo>
                      <a:pt x="18708" y="11042"/>
                    </a:lnTo>
                    <a:lnTo>
                      <a:pt x="18855" y="11172"/>
                    </a:lnTo>
                    <a:lnTo>
                      <a:pt x="19012" y="11358"/>
                    </a:lnTo>
                    <a:lnTo>
                      <a:pt x="19136" y="11600"/>
                    </a:lnTo>
                    <a:lnTo>
                      <a:pt x="19271" y="11861"/>
                    </a:lnTo>
                    <a:lnTo>
                      <a:pt x="19440" y="12028"/>
                    </a:lnTo>
                    <a:lnTo>
                      <a:pt x="19608" y="12177"/>
                    </a:lnTo>
                    <a:lnTo>
                      <a:pt x="19822" y="12289"/>
                    </a:lnTo>
                    <a:lnTo>
                      <a:pt x="20025" y="12289"/>
                    </a:lnTo>
                    <a:lnTo>
                      <a:pt x="20238" y="12289"/>
                    </a:lnTo>
                    <a:lnTo>
                      <a:pt x="20452" y="12215"/>
                    </a:lnTo>
                    <a:lnTo>
                      <a:pt x="20643" y="12103"/>
                    </a:lnTo>
                    <a:lnTo>
                      <a:pt x="20846" y="11973"/>
                    </a:lnTo>
                    <a:lnTo>
                      <a:pt x="21037" y="11786"/>
                    </a:lnTo>
                    <a:lnTo>
                      <a:pt x="21206" y="11563"/>
                    </a:lnTo>
                    <a:lnTo>
                      <a:pt x="21363" y="11321"/>
                    </a:lnTo>
                    <a:lnTo>
                      <a:pt x="21465" y="11079"/>
                    </a:lnTo>
                    <a:lnTo>
                      <a:pt x="21577" y="10744"/>
                    </a:lnTo>
                    <a:lnTo>
                      <a:pt x="21622" y="10427"/>
                    </a:lnTo>
                    <a:lnTo>
                      <a:pt x="21645" y="10111"/>
                    </a:lnTo>
                    <a:lnTo>
                      <a:pt x="21622" y="9608"/>
                    </a:lnTo>
                    <a:lnTo>
                      <a:pt x="21577" y="9142"/>
                    </a:lnTo>
                    <a:lnTo>
                      <a:pt x="21465" y="8751"/>
                    </a:lnTo>
                    <a:lnTo>
                      <a:pt x="21363" y="8397"/>
                    </a:lnTo>
                    <a:lnTo>
                      <a:pt x="21206" y="8062"/>
                    </a:lnTo>
                    <a:lnTo>
                      <a:pt x="21037" y="7820"/>
                    </a:lnTo>
                    <a:lnTo>
                      <a:pt x="20846" y="7597"/>
                    </a:lnTo>
                    <a:lnTo>
                      <a:pt x="20643" y="7429"/>
                    </a:lnTo>
                    <a:lnTo>
                      <a:pt x="20452" y="7317"/>
                    </a:lnTo>
                    <a:lnTo>
                      <a:pt x="20238" y="7206"/>
                    </a:lnTo>
                    <a:lnTo>
                      <a:pt x="20025" y="7168"/>
                    </a:lnTo>
                    <a:lnTo>
                      <a:pt x="19822" y="7206"/>
                    </a:lnTo>
                    <a:lnTo>
                      <a:pt x="19608" y="7243"/>
                    </a:lnTo>
                    <a:lnTo>
                      <a:pt x="19440" y="7355"/>
                    </a:lnTo>
                    <a:lnTo>
                      <a:pt x="19271" y="7504"/>
                    </a:lnTo>
                    <a:lnTo>
                      <a:pt x="19136" y="7708"/>
                    </a:lnTo>
                    <a:lnTo>
                      <a:pt x="19012" y="7895"/>
                    </a:lnTo>
                    <a:lnTo>
                      <a:pt x="18832" y="8025"/>
                    </a:lnTo>
                    <a:lnTo>
                      <a:pt x="18663" y="8174"/>
                    </a:lnTo>
                    <a:lnTo>
                      <a:pt x="18472" y="8248"/>
                    </a:lnTo>
                    <a:lnTo>
                      <a:pt x="18270" y="8286"/>
                    </a:lnTo>
                    <a:lnTo>
                      <a:pt x="18078" y="8323"/>
                    </a:lnTo>
                    <a:lnTo>
                      <a:pt x="17887" y="8323"/>
                    </a:lnTo>
                    <a:lnTo>
                      <a:pt x="17696" y="8248"/>
                    </a:lnTo>
                    <a:lnTo>
                      <a:pt x="17493" y="8174"/>
                    </a:lnTo>
                    <a:lnTo>
                      <a:pt x="17302" y="8062"/>
                    </a:lnTo>
                    <a:lnTo>
                      <a:pt x="17133" y="7969"/>
                    </a:lnTo>
                    <a:lnTo>
                      <a:pt x="16976" y="7783"/>
                    </a:lnTo>
                    <a:lnTo>
                      <a:pt x="16852" y="7597"/>
                    </a:lnTo>
                    <a:lnTo>
                      <a:pt x="16740" y="7429"/>
                    </a:lnTo>
                    <a:lnTo>
                      <a:pt x="16672" y="7168"/>
                    </a:lnTo>
                    <a:lnTo>
                      <a:pt x="16638" y="6926"/>
                    </a:lnTo>
                    <a:lnTo>
                      <a:pt x="16616" y="6498"/>
                    </a:lnTo>
                    <a:lnTo>
                      <a:pt x="16616" y="5772"/>
                    </a:lnTo>
                    <a:lnTo>
                      <a:pt x="16650" y="4915"/>
                    </a:lnTo>
                    <a:lnTo>
                      <a:pt x="16695" y="3928"/>
                    </a:lnTo>
                    <a:lnTo>
                      <a:pt x="16762" y="2960"/>
                    </a:lnTo>
                    <a:lnTo>
                      <a:pt x="16830" y="1992"/>
                    </a:lnTo>
                    <a:lnTo>
                      <a:pt x="16908" y="1173"/>
                    </a:lnTo>
                    <a:lnTo>
                      <a:pt x="16976" y="521"/>
                    </a:lnTo>
                    <a:lnTo>
                      <a:pt x="16953" y="521"/>
                    </a:lnTo>
                    <a:lnTo>
                      <a:pt x="16931" y="521"/>
                    </a:lnTo>
                    <a:lnTo>
                      <a:pt x="16267" y="484"/>
                    </a:lnTo>
                    <a:lnTo>
                      <a:pt x="15637" y="428"/>
                    </a:lnTo>
                    <a:lnTo>
                      <a:pt x="15063" y="353"/>
                    </a:lnTo>
                    <a:lnTo>
                      <a:pt x="14523" y="279"/>
                    </a:lnTo>
                    <a:lnTo>
                      <a:pt x="14040" y="167"/>
                    </a:lnTo>
                    <a:lnTo>
                      <a:pt x="13635" y="93"/>
                    </a:lnTo>
                    <a:lnTo>
                      <a:pt x="13331" y="18"/>
                    </a:lnTo>
                    <a:lnTo>
                      <a:pt x="13117" y="18"/>
                    </a:lnTo>
                    <a:lnTo>
                      <a:pt x="12982" y="18"/>
                    </a:lnTo>
                    <a:lnTo>
                      <a:pt x="12858" y="130"/>
                    </a:lnTo>
                    <a:lnTo>
                      <a:pt x="12723" y="279"/>
                    </a:lnTo>
                    <a:lnTo>
                      <a:pt x="12622" y="446"/>
                    </a:lnTo>
                    <a:lnTo>
                      <a:pt x="12510" y="670"/>
                    </a:lnTo>
                    <a:lnTo>
                      <a:pt x="12419" y="912"/>
                    </a:lnTo>
                    <a:lnTo>
                      <a:pt x="12363" y="1210"/>
                    </a:lnTo>
                    <a:lnTo>
                      <a:pt x="12318" y="1526"/>
                    </a:lnTo>
                    <a:lnTo>
                      <a:pt x="12273" y="1843"/>
                    </a:lnTo>
                    <a:lnTo>
                      <a:pt x="12251" y="2215"/>
                    </a:lnTo>
                    <a:lnTo>
                      <a:pt x="12273" y="2532"/>
                    </a:lnTo>
                    <a:lnTo>
                      <a:pt x="12318" y="2886"/>
                    </a:lnTo>
                    <a:lnTo>
                      <a:pt x="12386" y="3240"/>
                    </a:lnTo>
                    <a:lnTo>
                      <a:pt x="12464" y="3556"/>
                    </a:lnTo>
                    <a:lnTo>
                      <a:pt x="12577" y="3891"/>
                    </a:lnTo>
                    <a:lnTo>
                      <a:pt x="12746" y="4171"/>
                    </a:lnTo>
                    <a:lnTo>
                      <a:pt x="12926" y="4487"/>
                    </a:lnTo>
                    <a:lnTo>
                      <a:pt x="13050" y="4860"/>
                    </a:lnTo>
                    <a:lnTo>
                      <a:pt x="13162" y="5251"/>
                    </a:lnTo>
                    <a:lnTo>
                      <a:pt x="13218" y="5604"/>
                    </a:lnTo>
                    <a:lnTo>
                      <a:pt x="13263" y="5995"/>
                    </a:lnTo>
                    <a:lnTo>
                      <a:pt x="13241" y="6386"/>
                    </a:lnTo>
                    <a:lnTo>
                      <a:pt x="13218" y="6740"/>
                    </a:lnTo>
                    <a:lnTo>
                      <a:pt x="13139" y="7094"/>
                    </a:lnTo>
                    <a:lnTo>
                      <a:pt x="13050" y="7429"/>
                    </a:lnTo>
                    <a:lnTo>
                      <a:pt x="12903" y="7746"/>
                    </a:lnTo>
                    <a:lnTo>
                      <a:pt x="12723" y="8025"/>
                    </a:lnTo>
                    <a:lnTo>
                      <a:pt x="12532" y="8286"/>
                    </a:lnTo>
                    <a:lnTo>
                      <a:pt x="12318" y="8491"/>
                    </a:lnTo>
                    <a:lnTo>
                      <a:pt x="12060" y="8677"/>
                    </a:lnTo>
                    <a:lnTo>
                      <a:pt x="11756" y="8788"/>
                    </a:lnTo>
                    <a:lnTo>
                      <a:pt x="11452" y="8826"/>
                    </a:lnTo>
                    <a:lnTo>
                      <a:pt x="11283" y="8826"/>
                    </a:lnTo>
                    <a:lnTo>
                      <a:pt x="11126" y="8826"/>
                    </a:lnTo>
                    <a:lnTo>
                      <a:pt x="11002" y="8788"/>
                    </a:lnTo>
                    <a:lnTo>
                      <a:pt x="10845" y="8714"/>
                    </a:lnTo>
                    <a:lnTo>
                      <a:pt x="10721" y="8640"/>
                    </a:lnTo>
                    <a:lnTo>
                      <a:pt x="10608" y="8565"/>
                    </a:lnTo>
                    <a:lnTo>
                      <a:pt x="10485" y="8453"/>
                    </a:lnTo>
                    <a:lnTo>
                      <a:pt x="10372" y="8323"/>
                    </a:lnTo>
                    <a:lnTo>
                      <a:pt x="10181" y="8062"/>
                    </a:lnTo>
                    <a:lnTo>
                      <a:pt x="10035" y="7746"/>
                    </a:lnTo>
                    <a:lnTo>
                      <a:pt x="9900" y="7392"/>
                    </a:lnTo>
                    <a:lnTo>
                      <a:pt x="9787" y="7001"/>
                    </a:lnTo>
                    <a:lnTo>
                      <a:pt x="9731" y="6610"/>
                    </a:lnTo>
                    <a:lnTo>
                      <a:pt x="9686" y="6219"/>
                    </a:lnTo>
                    <a:lnTo>
                      <a:pt x="9663" y="5772"/>
                    </a:lnTo>
                    <a:lnTo>
                      <a:pt x="9686" y="5381"/>
                    </a:lnTo>
                    <a:lnTo>
                      <a:pt x="9753" y="4990"/>
                    </a:lnTo>
                    <a:lnTo>
                      <a:pt x="9832" y="4636"/>
                    </a:lnTo>
                    <a:lnTo>
                      <a:pt x="9945" y="4320"/>
                    </a:lnTo>
                    <a:lnTo>
                      <a:pt x="10068" y="4022"/>
                    </a:lnTo>
                    <a:lnTo>
                      <a:pt x="10203" y="3817"/>
                    </a:lnTo>
                    <a:lnTo>
                      <a:pt x="10316" y="3593"/>
                    </a:lnTo>
                    <a:lnTo>
                      <a:pt x="10395" y="3351"/>
                    </a:lnTo>
                    <a:lnTo>
                      <a:pt x="10462" y="3109"/>
                    </a:lnTo>
                    <a:lnTo>
                      <a:pt x="10507" y="2848"/>
                    </a:lnTo>
                    <a:lnTo>
                      <a:pt x="10530" y="2606"/>
                    </a:lnTo>
                    <a:lnTo>
                      <a:pt x="10507" y="2346"/>
                    </a:lnTo>
                    <a:lnTo>
                      <a:pt x="10462" y="2141"/>
                    </a:lnTo>
                    <a:lnTo>
                      <a:pt x="10395" y="1880"/>
                    </a:lnTo>
                    <a:lnTo>
                      <a:pt x="10293" y="1638"/>
                    </a:lnTo>
                    <a:lnTo>
                      <a:pt x="10158" y="1415"/>
                    </a:lnTo>
                    <a:lnTo>
                      <a:pt x="9967" y="1210"/>
                    </a:lnTo>
                    <a:lnTo>
                      <a:pt x="9753" y="986"/>
                    </a:lnTo>
                    <a:lnTo>
                      <a:pt x="9495" y="819"/>
                    </a:lnTo>
                    <a:lnTo>
                      <a:pt x="9191" y="670"/>
                    </a:lnTo>
                    <a:lnTo>
                      <a:pt x="8842" y="521"/>
                    </a:lnTo>
                    <a:lnTo>
                      <a:pt x="8471" y="446"/>
                    </a:lnTo>
                    <a:lnTo>
                      <a:pt x="7998" y="428"/>
                    </a:lnTo>
                    <a:lnTo>
                      <a:pt x="7413" y="428"/>
                    </a:lnTo>
                    <a:lnTo>
                      <a:pt x="6817" y="446"/>
                    </a:lnTo>
                    <a:lnTo>
                      <a:pt x="6187" y="521"/>
                    </a:lnTo>
                    <a:lnTo>
                      <a:pt x="5602" y="633"/>
                    </a:lnTo>
                    <a:lnTo>
                      <a:pt x="5107" y="744"/>
                    </a:lnTo>
                    <a:lnTo>
                      <a:pt x="4725" y="856"/>
                    </a:lnTo>
                    <a:lnTo>
                      <a:pt x="4848" y="1564"/>
                    </a:lnTo>
                    <a:lnTo>
                      <a:pt x="5028" y="2495"/>
                    </a:lnTo>
                    <a:lnTo>
                      <a:pt x="5175" y="3556"/>
                    </a:lnTo>
                    <a:lnTo>
                      <a:pt x="5298" y="4673"/>
                    </a:lnTo>
                    <a:lnTo>
                      <a:pt x="5343" y="5213"/>
                    </a:lnTo>
                    <a:lnTo>
                      <a:pt x="5388" y="5753"/>
                    </a:lnTo>
                    <a:lnTo>
                      <a:pt x="5411" y="6275"/>
                    </a:lnTo>
                    <a:lnTo>
                      <a:pt x="5411" y="6740"/>
                    </a:lnTo>
                    <a:lnTo>
                      <a:pt x="5366" y="7168"/>
                    </a:lnTo>
                    <a:lnTo>
                      <a:pt x="5321" y="7541"/>
                    </a:lnTo>
                    <a:lnTo>
                      <a:pt x="5287" y="7708"/>
                    </a:lnTo>
                    <a:lnTo>
                      <a:pt x="5242" y="7857"/>
                    </a:lnTo>
                    <a:lnTo>
                      <a:pt x="5197" y="7969"/>
                    </a:lnTo>
                    <a:lnTo>
                      <a:pt x="5130" y="8062"/>
                    </a:lnTo>
                    <a:lnTo>
                      <a:pt x="5006" y="8248"/>
                    </a:lnTo>
                    <a:lnTo>
                      <a:pt x="4848" y="8397"/>
                    </a:lnTo>
                    <a:lnTo>
                      <a:pt x="4725" y="8528"/>
                    </a:lnTo>
                    <a:lnTo>
                      <a:pt x="4567" y="8640"/>
                    </a:lnTo>
                    <a:lnTo>
                      <a:pt x="4421" y="8714"/>
                    </a:lnTo>
                    <a:lnTo>
                      <a:pt x="4263" y="8751"/>
                    </a:lnTo>
                    <a:lnTo>
                      <a:pt x="4095" y="8788"/>
                    </a:lnTo>
                    <a:lnTo>
                      <a:pt x="3948" y="8788"/>
                    </a:lnTo>
                    <a:lnTo>
                      <a:pt x="3791" y="8751"/>
                    </a:lnTo>
                    <a:lnTo>
                      <a:pt x="3667" y="8714"/>
                    </a:lnTo>
                    <a:lnTo>
                      <a:pt x="3510" y="8677"/>
                    </a:lnTo>
                    <a:lnTo>
                      <a:pt x="3386" y="8602"/>
                    </a:lnTo>
                    <a:lnTo>
                      <a:pt x="3251" y="8491"/>
                    </a:lnTo>
                    <a:lnTo>
                      <a:pt x="3127" y="8360"/>
                    </a:lnTo>
                    <a:lnTo>
                      <a:pt x="3015" y="8248"/>
                    </a:lnTo>
                    <a:lnTo>
                      <a:pt x="2925" y="8062"/>
                    </a:lnTo>
                    <a:lnTo>
                      <a:pt x="2778" y="7857"/>
                    </a:lnTo>
                    <a:lnTo>
                      <a:pt x="2610" y="7671"/>
                    </a:lnTo>
                    <a:lnTo>
                      <a:pt x="2407" y="7541"/>
                    </a:lnTo>
                    <a:lnTo>
                      <a:pt x="2171" y="7466"/>
                    </a:lnTo>
                    <a:lnTo>
                      <a:pt x="1957" y="7429"/>
                    </a:lnTo>
                    <a:lnTo>
                      <a:pt x="1698" y="7429"/>
                    </a:lnTo>
                    <a:lnTo>
                      <a:pt x="1462" y="7466"/>
                    </a:lnTo>
                    <a:lnTo>
                      <a:pt x="1226" y="7559"/>
                    </a:lnTo>
                    <a:lnTo>
                      <a:pt x="989" y="7708"/>
                    </a:lnTo>
                    <a:lnTo>
                      <a:pt x="776" y="7932"/>
                    </a:lnTo>
                    <a:lnTo>
                      <a:pt x="551" y="8211"/>
                    </a:lnTo>
                    <a:lnTo>
                      <a:pt x="382" y="8528"/>
                    </a:lnTo>
                    <a:lnTo>
                      <a:pt x="315" y="8714"/>
                    </a:lnTo>
                    <a:lnTo>
                      <a:pt x="236" y="8919"/>
                    </a:lnTo>
                    <a:lnTo>
                      <a:pt x="191" y="9142"/>
                    </a:lnTo>
                    <a:lnTo>
                      <a:pt x="123" y="9347"/>
                    </a:lnTo>
                    <a:lnTo>
                      <a:pt x="78" y="9608"/>
                    </a:lnTo>
                    <a:lnTo>
                      <a:pt x="56" y="9887"/>
                    </a:lnTo>
                    <a:lnTo>
                      <a:pt x="33" y="10185"/>
                    </a:lnTo>
                    <a:lnTo>
                      <a:pt x="33" y="10464"/>
                    </a:lnTo>
                    <a:lnTo>
                      <a:pt x="33" y="10706"/>
                    </a:lnTo>
                    <a:lnTo>
                      <a:pt x="56" y="10967"/>
                    </a:lnTo>
                    <a:lnTo>
                      <a:pt x="78" y="11172"/>
                    </a:lnTo>
                    <a:lnTo>
                      <a:pt x="123" y="11395"/>
                    </a:lnTo>
                    <a:lnTo>
                      <a:pt x="168" y="11600"/>
                    </a:lnTo>
                    <a:lnTo>
                      <a:pt x="236" y="11786"/>
                    </a:lnTo>
                    <a:lnTo>
                      <a:pt x="292" y="11973"/>
                    </a:lnTo>
                    <a:lnTo>
                      <a:pt x="382" y="12140"/>
                    </a:lnTo>
                    <a:lnTo>
                      <a:pt x="540" y="12419"/>
                    </a:lnTo>
                    <a:lnTo>
                      <a:pt x="731" y="12680"/>
                    </a:lnTo>
                    <a:lnTo>
                      <a:pt x="944" y="12866"/>
                    </a:lnTo>
                    <a:lnTo>
                      <a:pt x="1158" y="12997"/>
                    </a:lnTo>
                    <a:lnTo>
                      <a:pt x="1395" y="13108"/>
                    </a:lnTo>
                    <a:lnTo>
                      <a:pt x="1608" y="13183"/>
                    </a:lnTo>
                    <a:lnTo>
                      <a:pt x="1856" y="13183"/>
                    </a:lnTo>
                    <a:lnTo>
                      <a:pt x="2070" y="13146"/>
                    </a:lnTo>
                    <a:lnTo>
                      <a:pt x="2261" y="13071"/>
                    </a:lnTo>
                    <a:lnTo>
                      <a:pt x="2430" y="12960"/>
                    </a:lnTo>
                    <a:lnTo>
                      <a:pt x="2587" y="12792"/>
                    </a:lnTo>
                    <a:lnTo>
                      <a:pt x="2688" y="12606"/>
                    </a:lnTo>
                    <a:lnTo>
                      <a:pt x="2801" y="12419"/>
                    </a:lnTo>
                    <a:lnTo>
                      <a:pt x="2925" y="12289"/>
                    </a:lnTo>
                    <a:lnTo>
                      <a:pt x="3082" y="12177"/>
                    </a:lnTo>
                    <a:lnTo>
                      <a:pt x="3228" y="12103"/>
                    </a:lnTo>
                    <a:lnTo>
                      <a:pt x="3408" y="12103"/>
                    </a:lnTo>
                    <a:lnTo>
                      <a:pt x="3577" y="12103"/>
                    </a:lnTo>
                    <a:lnTo>
                      <a:pt x="3723" y="12177"/>
                    </a:lnTo>
                    <a:lnTo>
                      <a:pt x="3903" y="12252"/>
                    </a:lnTo>
                    <a:lnTo>
                      <a:pt x="4072" y="12364"/>
                    </a:lnTo>
                    <a:lnTo>
                      <a:pt x="4230" y="12494"/>
                    </a:lnTo>
                    <a:lnTo>
                      <a:pt x="4353" y="12643"/>
                    </a:lnTo>
                    <a:lnTo>
                      <a:pt x="4488" y="12829"/>
                    </a:lnTo>
                    <a:lnTo>
                      <a:pt x="4567" y="13034"/>
                    </a:lnTo>
                    <a:lnTo>
                      <a:pt x="4657" y="13257"/>
                    </a:lnTo>
                    <a:lnTo>
                      <a:pt x="4702" y="13462"/>
                    </a:lnTo>
                    <a:lnTo>
                      <a:pt x="4725" y="13686"/>
                    </a:lnTo>
                    <a:lnTo>
                      <a:pt x="4702" y="14282"/>
                    </a:lnTo>
                    <a:lnTo>
                      <a:pt x="4657" y="15045"/>
                    </a:lnTo>
                    <a:lnTo>
                      <a:pt x="4612" y="15976"/>
                    </a:lnTo>
                    <a:lnTo>
                      <a:pt x="4590" y="16926"/>
                    </a:lnTo>
                    <a:lnTo>
                      <a:pt x="4567" y="17968"/>
                    </a:lnTo>
                    <a:lnTo>
                      <a:pt x="4567" y="19011"/>
                    </a:lnTo>
                    <a:lnTo>
                      <a:pt x="4590" y="19514"/>
                    </a:lnTo>
                    <a:lnTo>
                      <a:pt x="4612" y="19980"/>
                    </a:lnTo>
                    <a:lnTo>
                      <a:pt x="4657" y="20426"/>
                    </a:lnTo>
                    <a:lnTo>
                      <a:pt x="4725" y="20836"/>
                    </a:lnTo>
                    <a:lnTo>
                      <a:pt x="4848" y="20929"/>
                    </a:lnTo>
                    <a:lnTo>
                      <a:pt x="5040" y="21004"/>
                    </a:lnTo>
                    <a:lnTo>
                      <a:pt x="5265" y="21078"/>
                    </a:lnTo>
                    <a:lnTo>
                      <a:pt x="5478" y="21115"/>
                    </a:lnTo>
                    <a:lnTo>
                      <a:pt x="6041" y="21115"/>
                    </a:lnTo>
                    <a:lnTo>
                      <a:pt x="6637" y="21078"/>
                    </a:lnTo>
                    <a:lnTo>
                      <a:pt x="7312" y="21004"/>
                    </a:lnTo>
                    <a:lnTo>
                      <a:pt x="7998" y="20929"/>
                    </a:lnTo>
                    <a:lnTo>
                      <a:pt x="8696" y="20855"/>
                    </a:lnTo>
                    <a:lnTo>
                      <a:pt x="9360" y="20836"/>
                    </a:lnTo>
                    <a:close/>
                  </a:path>
                </a:pathLst>
              </a:custGeom>
              <a:solidFill>
                <a:srgbClr val="CCCCFF"/>
              </a:solidFill>
              <a:ln w="2857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grpSp>
        <p:nvGrpSpPr>
          <p:cNvPr id="13" name="Group 7"/>
          <p:cNvGrpSpPr>
            <a:grpSpLocks/>
          </p:cNvGrpSpPr>
          <p:nvPr/>
        </p:nvGrpSpPr>
        <p:grpSpPr bwMode="auto">
          <a:xfrm>
            <a:off x="3059833" y="999039"/>
            <a:ext cx="5398367" cy="4928460"/>
            <a:chOff x="655" y="183"/>
            <a:chExt cx="3767" cy="3110"/>
          </a:xfrm>
        </p:grpSpPr>
        <p:sp>
          <p:nvSpPr>
            <p:cNvPr id="14" name="Puzzle3"/>
            <p:cNvSpPr>
              <a:spLocks noEditPoints="1" noChangeArrowheads="1"/>
            </p:cNvSpPr>
            <p:nvPr/>
          </p:nvSpPr>
          <p:spPr bwMode="auto">
            <a:xfrm>
              <a:off x="688" y="2046"/>
              <a:ext cx="1002" cy="1247"/>
            </a:xfrm>
            <a:custGeom>
              <a:avLst/>
              <a:gdLst>
                <a:gd name="T0" fmla="*/ 10391 w 21600"/>
                <a:gd name="T1" fmla="*/ 15806 h 21600"/>
                <a:gd name="T2" fmla="*/ 20551 w 21600"/>
                <a:gd name="T3" fmla="*/ 21088 h 21600"/>
                <a:gd name="T4" fmla="*/ 13180 w 21600"/>
                <a:gd name="T5" fmla="*/ 13801 h 21600"/>
                <a:gd name="T6" fmla="*/ 20551 w 21600"/>
                <a:gd name="T7" fmla="*/ 7025 h 21600"/>
                <a:gd name="T8" fmla="*/ 10500 w 21600"/>
                <a:gd name="T9" fmla="*/ 52 h 21600"/>
                <a:gd name="T10" fmla="*/ 692 w 21600"/>
                <a:gd name="T11" fmla="*/ 6802 h 21600"/>
                <a:gd name="T12" fmla="*/ 8064 w 21600"/>
                <a:gd name="T13" fmla="*/ 13526 h 21600"/>
                <a:gd name="T14" fmla="*/ 692 w 21600"/>
                <a:gd name="T15" fmla="*/ 21088 h 21600"/>
                <a:gd name="T16" fmla="*/ 2273 w 21600"/>
                <a:gd name="T17" fmla="*/ 7719 h 21600"/>
                <a:gd name="T18" fmla="*/ 19149 w 21600"/>
                <a:gd name="T19" fmla="*/ 20237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6625" y="20892"/>
                  </a:moveTo>
                  <a:lnTo>
                    <a:pt x="7105" y="21023"/>
                  </a:lnTo>
                  <a:lnTo>
                    <a:pt x="7513" y="21088"/>
                  </a:lnTo>
                  <a:lnTo>
                    <a:pt x="7922" y="21115"/>
                  </a:lnTo>
                  <a:lnTo>
                    <a:pt x="8242" y="21115"/>
                  </a:lnTo>
                  <a:lnTo>
                    <a:pt x="8544" y="21062"/>
                  </a:lnTo>
                  <a:lnTo>
                    <a:pt x="8810" y="20997"/>
                  </a:lnTo>
                  <a:lnTo>
                    <a:pt x="9023" y="20892"/>
                  </a:lnTo>
                  <a:lnTo>
                    <a:pt x="9148" y="20761"/>
                  </a:lnTo>
                  <a:lnTo>
                    <a:pt x="9290" y="20616"/>
                  </a:lnTo>
                  <a:lnTo>
                    <a:pt x="9361" y="20459"/>
                  </a:lnTo>
                  <a:lnTo>
                    <a:pt x="9396" y="20289"/>
                  </a:lnTo>
                  <a:lnTo>
                    <a:pt x="9396" y="20092"/>
                  </a:lnTo>
                  <a:lnTo>
                    <a:pt x="9325" y="19909"/>
                  </a:lnTo>
                  <a:lnTo>
                    <a:pt x="9219" y="19738"/>
                  </a:lnTo>
                  <a:lnTo>
                    <a:pt x="9094" y="19555"/>
                  </a:lnTo>
                  <a:lnTo>
                    <a:pt x="8917" y="19384"/>
                  </a:lnTo>
                  <a:lnTo>
                    <a:pt x="8650" y="19162"/>
                  </a:lnTo>
                  <a:lnTo>
                    <a:pt x="8437" y="18900"/>
                  </a:lnTo>
                  <a:lnTo>
                    <a:pt x="8277" y="18624"/>
                  </a:lnTo>
                  <a:lnTo>
                    <a:pt x="8135" y="18349"/>
                  </a:lnTo>
                  <a:lnTo>
                    <a:pt x="8028" y="18048"/>
                  </a:lnTo>
                  <a:lnTo>
                    <a:pt x="7993" y="17746"/>
                  </a:lnTo>
                  <a:lnTo>
                    <a:pt x="7993" y="17471"/>
                  </a:lnTo>
                  <a:lnTo>
                    <a:pt x="8028" y="17169"/>
                  </a:lnTo>
                  <a:lnTo>
                    <a:pt x="8135" y="16920"/>
                  </a:lnTo>
                  <a:lnTo>
                    <a:pt x="8277" y="16671"/>
                  </a:lnTo>
                  <a:lnTo>
                    <a:pt x="8366" y="16540"/>
                  </a:lnTo>
                  <a:lnTo>
                    <a:pt x="8473" y="16409"/>
                  </a:lnTo>
                  <a:lnTo>
                    <a:pt x="8615" y="16317"/>
                  </a:lnTo>
                  <a:lnTo>
                    <a:pt x="8739" y="16213"/>
                  </a:lnTo>
                  <a:lnTo>
                    <a:pt x="8881" y="16134"/>
                  </a:lnTo>
                  <a:lnTo>
                    <a:pt x="9059" y="16055"/>
                  </a:lnTo>
                  <a:lnTo>
                    <a:pt x="9254" y="15990"/>
                  </a:lnTo>
                  <a:lnTo>
                    <a:pt x="9432" y="15911"/>
                  </a:lnTo>
                  <a:lnTo>
                    <a:pt x="9663" y="15885"/>
                  </a:lnTo>
                  <a:lnTo>
                    <a:pt x="9876" y="15833"/>
                  </a:lnTo>
                  <a:lnTo>
                    <a:pt x="10142" y="15806"/>
                  </a:lnTo>
                  <a:lnTo>
                    <a:pt x="10391" y="15806"/>
                  </a:lnTo>
                  <a:lnTo>
                    <a:pt x="10728" y="15806"/>
                  </a:lnTo>
                  <a:lnTo>
                    <a:pt x="10995" y="15806"/>
                  </a:lnTo>
                  <a:lnTo>
                    <a:pt x="11279" y="15833"/>
                  </a:lnTo>
                  <a:lnTo>
                    <a:pt x="11546" y="15885"/>
                  </a:lnTo>
                  <a:lnTo>
                    <a:pt x="11776" y="15937"/>
                  </a:lnTo>
                  <a:lnTo>
                    <a:pt x="12025" y="15990"/>
                  </a:lnTo>
                  <a:lnTo>
                    <a:pt x="12221" y="16055"/>
                  </a:lnTo>
                  <a:lnTo>
                    <a:pt x="12434" y="16134"/>
                  </a:lnTo>
                  <a:lnTo>
                    <a:pt x="12611" y="16213"/>
                  </a:lnTo>
                  <a:lnTo>
                    <a:pt x="12771" y="16317"/>
                  </a:lnTo>
                  <a:lnTo>
                    <a:pt x="12913" y="16409"/>
                  </a:lnTo>
                  <a:lnTo>
                    <a:pt x="13038" y="16514"/>
                  </a:lnTo>
                  <a:lnTo>
                    <a:pt x="13251" y="16737"/>
                  </a:lnTo>
                  <a:lnTo>
                    <a:pt x="13428" y="16986"/>
                  </a:lnTo>
                  <a:lnTo>
                    <a:pt x="13517" y="17248"/>
                  </a:lnTo>
                  <a:lnTo>
                    <a:pt x="13588" y="17523"/>
                  </a:lnTo>
                  <a:lnTo>
                    <a:pt x="13588" y="17799"/>
                  </a:lnTo>
                  <a:lnTo>
                    <a:pt x="13517" y="18074"/>
                  </a:lnTo>
                  <a:lnTo>
                    <a:pt x="13428" y="18323"/>
                  </a:lnTo>
                  <a:lnTo>
                    <a:pt x="13286" y="18572"/>
                  </a:lnTo>
                  <a:lnTo>
                    <a:pt x="13109" y="18808"/>
                  </a:lnTo>
                  <a:lnTo>
                    <a:pt x="12878" y="19031"/>
                  </a:lnTo>
                  <a:lnTo>
                    <a:pt x="12434" y="19411"/>
                  </a:lnTo>
                  <a:lnTo>
                    <a:pt x="12132" y="19738"/>
                  </a:lnTo>
                  <a:lnTo>
                    <a:pt x="12025" y="19856"/>
                  </a:lnTo>
                  <a:lnTo>
                    <a:pt x="11919" y="20014"/>
                  </a:lnTo>
                  <a:lnTo>
                    <a:pt x="11883" y="20132"/>
                  </a:lnTo>
                  <a:lnTo>
                    <a:pt x="11883" y="20263"/>
                  </a:lnTo>
                  <a:lnTo>
                    <a:pt x="11883" y="20394"/>
                  </a:lnTo>
                  <a:lnTo>
                    <a:pt x="11954" y="20485"/>
                  </a:lnTo>
                  <a:lnTo>
                    <a:pt x="12061" y="20590"/>
                  </a:lnTo>
                  <a:lnTo>
                    <a:pt x="12185" y="20695"/>
                  </a:lnTo>
                  <a:lnTo>
                    <a:pt x="12327" y="20787"/>
                  </a:lnTo>
                  <a:lnTo>
                    <a:pt x="12540" y="20892"/>
                  </a:lnTo>
                  <a:lnTo>
                    <a:pt x="12771" y="20997"/>
                  </a:lnTo>
                  <a:lnTo>
                    <a:pt x="13073" y="21088"/>
                  </a:lnTo>
                  <a:lnTo>
                    <a:pt x="13428" y="21193"/>
                  </a:lnTo>
                  <a:lnTo>
                    <a:pt x="13873" y="21298"/>
                  </a:lnTo>
                  <a:lnTo>
                    <a:pt x="14317" y="21390"/>
                  </a:lnTo>
                  <a:lnTo>
                    <a:pt x="14778" y="21468"/>
                  </a:lnTo>
                  <a:lnTo>
                    <a:pt x="15294" y="21547"/>
                  </a:lnTo>
                  <a:lnTo>
                    <a:pt x="15809" y="21600"/>
                  </a:lnTo>
                  <a:lnTo>
                    <a:pt x="16359" y="21652"/>
                  </a:lnTo>
                  <a:lnTo>
                    <a:pt x="16875" y="21678"/>
                  </a:lnTo>
                  <a:lnTo>
                    <a:pt x="17407" y="21678"/>
                  </a:lnTo>
                  <a:lnTo>
                    <a:pt x="17958" y="21678"/>
                  </a:lnTo>
                  <a:lnTo>
                    <a:pt x="18473" y="21652"/>
                  </a:lnTo>
                  <a:lnTo>
                    <a:pt x="18953" y="21573"/>
                  </a:lnTo>
                  <a:lnTo>
                    <a:pt x="19397" y="21495"/>
                  </a:lnTo>
                  <a:lnTo>
                    <a:pt x="19841" y="21390"/>
                  </a:lnTo>
                  <a:lnTo>
                    <a:pt x="20214" y="21272"/>
                  </a:lnTo>
                  <a:lnTo>
                    <a:pt x="20551" y="21088"/>
                  </a:lnTo>
                  <a:lnTo>
                    <a:pt x="20480" y="20787"/>
                  </a:lnTo>
                  <a:lnTo>
                    <a:pt x="20409" y="20485"/>
                  </a:lnTo>
                  <a:lnTo>
                    <a:pt x="20356" y="20158"/>
                  </a:lnTo>
                  <a:lnTo>
                    <a:pt x="20356" y="19804"/>
                  </a:lnTo>
                  <a:lnTo>
                    <a:pt x="20321" y="19083"/>
                  </a:lnTo>
                  <a:lnTo>
                    <a:pt x="20356" y="18349"/>
                  </a:lnTo>
                  <a:lnTo>
                    <a:pt x="20409" y="17641"/>
                  </a:lnTo>
                  <a:lnTo>
                    <a:pt x="20480" y="17012"/>
                  </a:lnTo>
                  <a:lnTo>
                    <a:pt x="20551" y="16488"/>
                  </a:lnTo>
                  <a:lnTo>
                    <a:pt x="20551" y="16055"/>
                  </a:lnTo>
                  <a:lnTo>
                    <a:pt x="20551" y="15911"/>
                  </a:lnTo>
                  <a:lnTo>
                    <a:pt x="20445" y="15754"/>
                  </a:lnTo>
                  <a:lnTo>
                    <a:pt x="20356" y="15610"/>
                  </a:lnTo>
                  <a:lnTo>
                    <a:pt x="20178" y="15452"/>
                  </a:lnTo>
                  <a:lnTo>
                    <a:pt x="20001" y="15334"/>
                  </a:lnTo>
                  <a:lnTo>
                    <a:pt x="19770" y="15230"/>
                  </a:lnTo>
                  <a:lnTo>
                    <a:pt x="19521" y="15125"/>
                  </a:lnTo>
                  <a:lnTo>
                    <a:pt x="19290" y="15059"/>
                  </a:lnTo>
                  <a:lnTo>
                    <a:pt x="19024" y="15007"/>
                  </a:lnTo>
                  <a:lnTo>
                    <a:pt x="18740" y="14954"/>
                  </a:lnTo>
                  <a:lnTo>
                    <a:pt x="18509" y="14954"/>
                  </a:lnTo>
                  <a:lnTo>
                    <a:pt x="18225" y="14954"/>
                  </a:lnTo>
                  <a:lnTo>
                    <a:pt x="17994" y="15007"/>
                  </a:lnTo>
                  <a:lnTo>
                    <a:pt x="17763" y="15085"/>
                  </a:lnTo>
                  <a:lnTo>
                    <a:pt x="17550" y="15177"/>
                  </a:lnTo>
                  <a:lnTo>
                    <a:pt x="17372" y="15308"/>
                  </a:lnTo>
                  <a:lnTo>
                    <a:pt x="17176" y="15426"/>
                  </a:lnTo>
                  <a:lnTo>
                    <a:pt x="16928" y="15557"/>
                  </a:lnTo>
                  <a:lnTo>
                    <a:pt x="16661" y="15636"/>
                  </a:lnTo>
                  <a:lnTo>
                    <a:pt x="16359" y="15688"/>
                  </a:lnTo>
                  <a:lnTo>
                    <a:pt x="16022" y="15715"/>
                  </a:lnTo>
                  <a:lnTo>
                    <a:pt x="15667" y="15688"/>
                  </a:lnTo>
                  <a:lnTo>
                    <a:pt x="15294" y="15662"/>
                  </a:lnTo>
                  <a:lnTo>
                    <a:pt x="14956" y="15583"/>
                  </a:lnTo>
                  <a:lnTo>
                    <a:pt x="14619" y="15479"/>
                  </a:lnTo>
                  <a:lnTo>
                    <a:pt x="14281" y="15334"/>
                  </a:lnTo>
                  <a:lnTo>
                    <a:pt x="13961" y="15177"/>
                  </a:lnTo>
                  <a:lnTo>
                    <a:pt x="13695" y="14981"/>
                  </a:lnTo>
                  <a:lnTo>
                    <a:pt x="13588" y="14850"/>
                  </a:lnTo>
                  <a:lnTo>
                    <a:pt x="13482" y="14732"/>
                  </a:lnTo>
                  <a:lnTo>
                    <a:pt x="13393" y="14600"/>
                  </a:lnTo>
                  <a:lnTo>
                    <a:pt x="13322" y="14456"/>
                  </a:lnTo>
                  <a:lnTo>
                    <a:pt x="13251" y="14299"/>
                  </a:lnTo>
                  <a:lnTo>
                    <a:pt x="13215" y="14155"/>
                  </a:lnTo>
                  <a:lnTo>
                    <a:pt x="13180" y="13971"/>
                  </a:lnTo>
                  <a:lnTo>
                    <a:pt x="13180" y="13801"/>
                  </a:lnTo>
                  <a:lnTo>
                    <a:pt x="13180" y="13591"/>
                  </a:lnTo>
                  <a:lnTo>
                    <a:pt x="13215" y="13395"/>
                  </a:lnTo>
                  <a:lnTo>
                    <a:pt x="13251" y="13198"/>
                  </a:lnTo>
                  <a:lnTo>
                    <a:pt x="13322" y="13015"/>
                  </a:lnTo>
                  <a:lnTo>
                    <a:pt x="13393" y="12870"/>
                  </a:lnTo>
                  <a:lnTo>
                    <a:pt x="13482" y="12713"/>
                  </a:lnTo>
                  <a:lnTo>
                    <a:pt x="13588" y="12569"/>
                  </a:lnTo>
                  <a:lnTo>
                    <a:pt x="13730" y="12438"/>
                  </a:lnTo>
                  <a:lnTo>
                    <a:pt x="13997" y="12215"/>
                  </a:lnTo>
                  <a:lnTo>
                    <a:pt x="14334" y="12005"/>
                  </a:lnTo>
                  <a:lnTo>
                    <a:pt x="14690" y="11861"/>
                  </a:lnTo>
                  <a:lnTo>
                    <a:pt x="15063" y="11756"/>
                  </a:lnTo>
                  <a:lnTo>
                    <a:pt x="15436" y="11678"/>
                  </a:lnTo>
                  <a:lnTo>
                    <a:pt x="15809" y="11638"/>
                  </a:lnTo>
                  <a:lnTo>
                    <a:pt x="16182" y="11638"/>
                  </a:lnTo>
                  <a:lnTo>
                    <a:pt x="16555" y="11678"/>
                  </a:lnTo>
                  <a:lnTo>
                    <a:pt x="16910" y="11730"/>
                  </a:lnTo>
                  <a:lnTo>
                    <a:pt x="17248" y="11835"/>
                  </a:lnTo>
                  <a:lnTo>
                    <a:pt x="17514" y="11966"/>
                  </a:lnTo>
                  <a:lnTo>
                    <a:pt x="17763" y="12110"/>
                  </a:lnTo>
                  <a:lnTo>
                    <a:pt x="17887" y="12215"/>
                  </a:lnTo>
                  <a:lnTo>
                    <a:pt x="18065" y="12307"/>
                  </a:lnTo>
                  <a:lnTo>
                    <a:pt x="18260" y="12412"/>
                  </a:lnTo>
                  <a:lnTo>
                    <a:pt x="18438" y="12464"/>
                  </a:lnTo>
                  <a:lnTo>
                    <a:pt x="18669" y="12543"/>
                  </a:lnTo>
                  <a:lnTo>
                    <a:pt x="18882" y="12569"/>
                  </a:lnTo>
                  <a:lnTo>
                    <a:pt x="19113" y="12595"/>
                  </a:lnTo>
                  <a:lnTo>
                    <a:pt x="19361" y="12608"/>
                  </a:lnTo>
                  <a:lnTo>
                    <a:pt x="19592" y="12608"/>
                  </a:lnTo>
                  <a:lnTo>
                    <a:pt x="19841" y="12595"/>
                  </a:lnTo>
                  <a:lnTo>
                    <a:pt x="20072" y="12543"/>
                  </a:lnTo>
                  <a:lnTo>
                    <a:pt x="20321" y="12490"/>
                  </a:lnTo>
                  <a:lnTo>
                    <a:pt x="20551" y="12438"/>
                  </a:lnTo>
                  <a:lnTo>
                    <a:pt x="20800" y="12333"/>
                  </a:lnTo>
                  <a:lnTo>
                    <a:pt x="20996" y="12241"/>
                  </a:lnTo>
                  <a:lnTo>
                    <a:pt x="21244" y="12110"/>
                  </a:lnTo>
                  <a:lnTo>
                    <a:pt x="21298" y="12032"/>
                  </a:lnTo>
                  <a:lnTo>
                    <a:pt x="21404" y="11966"/>
                  </a:lnTo>
                  <a:lnTo>
                    <a:pt x="21475" y="11861"/>
                  </a:lnTo>
                  <a:lnTo>
                    <a:pt x="21511" y="11730"/>
                  </a:lnTo>
                  <a:lnTo>
                    <a:pt x="21617" y="11481"/>
                  </a:lnTo>
                  <a:lnTo>
                    <a:pt x="21653" y="11180"/>
                  </a:lnTo>
                  <a:lnTo>
                    <a:pt x="21653" y="10826"/>
                  </a:lnTo>
                  <a:lnTo>
                    <a:pt x="21653" y="10472"/>
                  </a:lnTo>
                  <a:lnTo>
                    <a:pt x="21582" y="10092"/>
                  </a:lnTo>
                  <a:lnTo>
                    <a:pt x="21511" y="9725"/>
                  </a:lnTo>
                  <a:lnTo>
                    <a:pt x="21298" y="8912"/>
                  </a:lnTo>
                  <a:lnTo>
                    <a:pt x="21067" y="8191"/>
                  </a:lnTo>
                  <a:lnTo>
                    <a:pt x="20800" y="7536"/>
                  </a:lnTo>
                  <a:lnTo>
                    <a:pt x="20551" y="7025"/>
                  </a:lnTo>
                  <a:lnTo>
                    <a:pt x="20001" y="7103"/>
                  </a:lnTo>
                  <a:lnTo>
                    <a:pt x="19432" y="7156"/>
                  </a:lnTo>
                  <a:lnTo>
                    <a:pt x="18846" y="7208"/>
                  </a:lnTo>
                  <a:lnTo>
                    <a:pt x="18225" y="7208"/>
                  </a:lnTo>
                  <a:lnTo>
                    <a:pt x="17656" y="7208"/>
                  </a:lnTo>
                  <a:lnTo>
                    <a:pt x="17070" y="7182"/>
                  </a:lnTo>
                  <a:lnTo>
                    <a:pt x="16484" y="7156"/>
                  </a:lnTo>
                  <a:lnTo>
                    <a:pt x="15986" y="7103"/>
                  </a:lnTo>
                  <a:lnTo>
                    <a:pt x="14992" y="6999"/>
                  </a:lnTo>
                  <a:lnTo>
                    <a:pt x="14210" y="6907"/>
                  </a:lnTo>
                  <a:lnTo>
                    <a:pt x="13695" y="6828"/>
                  </a:lnTo>
                  <a:lnTo>
                    <a:pt x="13517" y="6802"/>
                  </a:lnTo>
                  <a:lnTo>
                    <a:pt x="13073" y="6645"/>
                  </a:lnTo>
                  <a:lnTo>
                    <a:pt x="12700" y="6474"/>
                  </a:lnTo>
                  <a:lnTo>
                    <a:pt x="12363" y="6304"/>
                  </a:lnTo>
                  <a:lnTo>
                    <a:pt x="12132" y="6094"/>
                  </a:lnTo>
                  <a:lnTo>
                    <a:pt x="11919" y="5871"/>
                  </a:lnTo>
                  <a:lnTo>
                    <a:pt x="11776" y="5649"/>
                  </a:lnTo>
                  <a:lnTo>
                    <a:pt x="11688" y="5413"/>
                  </a:lnTo>
                  <a:lnTo>
                    <a:pt x="11617" y="5190"/>
                  </a:lnTo>
                  <a:lnTo>
                    <a:pt x="11617" y="4941"/>
                  </a:lnTo>
                  <a:lnTo>
                    <a:pt x="11652" y="4718"/>
                  </a:lnTo>
                  <a:lnTo>
                    <a:pt x="11723" y="4482"/>
                  </a:lnTo>
                  <a:lnTo>
                    <a:pt x="11812" y="4285"/>
                  </a:lnTo>
                  <a:lnTo>
                    <a:pt x="11919" y="4089"/>
                  </a:lnTo>
                  <a:lnTo>
                    <a:pt x="12096" y="3905"/>
                  </a:lnTo>
                  <a:lnTo>
                    <a:pt x="12292" y="3735"/>
                  </a:lnTo>
                  <a:lnTo>
                    <a:pt x="12505" y="3604"/>
                  </a:lnTo>
                  <a:lnTo>
                    <a:pt x="12700" y="3460"/>
                  </a:lnTo>
                  <a:lnTo>
                    <a:pt x="12878" y="3250"/>
                  </a:lnTo>
                  <a:lnTo>
                    <a:pt x="13038" y="3027"/>
                  </a:lnTo>
                  <a:lnTo>
                    <a:pt x="13180" y="2752"/>
                  </a:lnTo>
                  <a:lnTo>
                    <a:pt x="13286" y="2477"/>
                  </a:lnTo>
                  <a:lnTo>
                    <a:pt x="13322" y="2175"/>
                  </a:lnTo>
                  <a:lnTo>
                    <a:pt x="13357" y="1874"/>
                  </a:lnTo>
                  <a:lnTo>
                    <a:pt x="13286" y="1572"/>
                  </a:lnTo>
                  <a:lnTo>
                    <a:pt x="13180" y="1271"/>
                  </a:lnTo>
                  <a:lnTo>
                    <a:pt x="13038" y="983"/>
                  </a:lnTo>
                  <a:lnTo>
                    <a:pt x="12949" y="865"/>
                  </a:lnTo>
                  <a:lnTo>
                    <a:pt x="12807" y="733"/>
                  </a:lnTo>
                  <a:lnTo>
                    <a:pt x="12665" y="616"/>
                  </a:lnTo>
                  <a:lnTo>
                    <a:pt x="12505" y="511"/>
                  </a:lnTo>
                  <a:lnTo>
                    <a:pt x="12327" y="406"/>
                  </a:lnTo>
                  <a:lnTo>
                    <a:pt x="12132" y="314"/>
                  </a:lnTo>
                  <a:lnTo>
                    <a:pt x="11883" y="235"/>
                  </a:lnTo>
                  <a:lnTo>
                    <a:pt x="11652" y="183"/>
                  </a:lnTo>
                  <a:lnTo>
                    <a:pt x="11368" y="104"/>
                  </a:lnTo>
                  <a:lnTo>
                    <a:pt x="11101" y="78"/>
                  </a:lnTo>
                  <a:lnTo>
                    <a:pt x="10800" y="52"/>
                  </a:lnTo>
                  <a:lnTo>
                    <a:pt x="10444" y="52"/>
                  </a:lnTo>
                  <a:lnTo>
                    <a:pt x="10142" y="52"/>
                  </a:lnTo>
                  <a:lnTo>
                    <a:pt x="9840" y="78"/>
                  </a:lnTo>
                  <a:lnTo>
                    <a:pt x="9574" y="104"/>
                  </a:lnTo>
                  <a:lnTo>
                    <a:pt x="9325" y="157"/>
                  </a:lnTo>
                  <a:lnTo>
                    <a:pt x="9094" y="209"/>
                  </a:lnTo>
                  <a:lnTo>
                    <a:pt x="8846" y="262"/>
                  </a:lnTo>
                  <a:lnTo>
                    <a:pt x="8650" y="340"/>
                  </a:lnTo>
                  <a:lnTo>
                    <a:pt x="8437" y="432"/>
                  </a:lnTo>
                  <a:lnTo>
                    <a:pt x="8277" y="511"/>
                  </a:lnTo>
                  <a:lnTo>
                    <a:pt x="8100" y="616"/>
                  </a:lnTo>
                  <a:lnTo>
                    <a:pt x="7957" y="707"/>
                  </a:lnTo>
                  <a:lnTo>
                    <a:pt x="7833" y="838"/>
                  </a:lnTo>
                  <a:lnTo>
                    <a:pt x="7620" y="1061"/>
                  </a:lnTo>
                  <a:lnTo>
                    <a:pt x="7442" y="1336"/>
                  </a:lnTo>
                  <a:lnTo>
                    <a:pt x="7353" y="1599"/>
                  </a:lnTo>
                  <a:lnTo>
                    <a:pt x="7318" y="1900"/>
                  </a:lnTo>
                  <a:lnTo>
                    <a:pt x="7318" y="2175"/>
                  </a:lnTo>
                  <a:lnTo>
                    <a:pt x="7353" y="2450"/>
                  </a:lnTo>
                  <a:lnTo>
                    <a:pt x="7442" y="2726"/>
                  </a:lnTo>
                  <a:lnTo>
                    <a:pt x="7620" y="2975"/>
                  </a:lnTo>
                  <a:lnTo>
                    <a:pt x="7833" y="3198"/>
                  </a:lnTo>
                  <a:lnTo>
                    <a:pt x="8064" y="3433"/>
                  </a:lnTo>
                  <a:lnTo>
                    <a:pt x="8295" y="3630"/>
                  </a:lnTo>
                  <a:lnTo>
                    <a:pt x="8508" y="3853"/>
                  </a:lnTo>
                  <a:lnTo>
                    <a:pt x="8686" y="4089"/>
                  </a:lnTo>
                  <a:lnTo>
                    <a:pt x="8775" y="4312"/>
                  </a:lnTo>
                  <a:lnTo>
                    <a:pt x="8846" y="4561"/>
                  </a:lnTo>
                  <a:lnTo>
                    <a:pt x="8846" y="4810"/>
                  </a:lnTo>
                  <a:lnTo>
                    <a:pt x="8810" y="5059"/>
                  </a:lnTo>
                  <a:lnTo>
                    <a:pt x="8721" y="5295"/>
                  </a:lnTo>
                  <a:lnTo>
                    <a:pt x="8579" y="5544"/>
                  </a:lnTo>
                  <a:lnTo>
                    <a:pt x="8366" y="5766"/>
                  </a:lnTo>
                  <a:lnTo>
                    <a:pt x="8135" y="5976"/>
                  </a:lnTo>
                  <a:lnTo>
                    <a:pt x="7833" y="6199"/>
                  </a:lnTo>
                  <a:lnTo>
                    <a:pt x="7478" y="6369"/>
                  </a:lnTo>
                  <a:lnTo>
                    <a:pt x="7069" y="6527"/>
                  </a:lnTo>
                  <a:lnTo>
                    <a:pt x="6590" y="6671"/>
                  </a:lnTo>
                  <a:lnTo>
                    <a:pt x="6092" y="6802"/>
                  </a:lnTo>
                  <a:lnTo>
                    <a:pt x="5684" y="6802"/>
                  </a:lnTo>
                  <a:lnTo>
                    <a:pt x="5133" y="6802"/>
                  </a:lnTo>
                  <a:lnTo>
                    <a:pt x="4547" y="6802"/>
                  </a:lnTo>
                  <a:lnTo>
                    <a:pt x="3872" y="6802"/>
                  </a:lnTo>
                  <a:lnTo>
                    <a:pt x="3144" y="6802"/>
                  </a:lnTo>
                  <a:lnTo>
                    <a:pt x="2362" y="6802"/>
                  </a:lnTo>
                  <a:lnTo>
                    <a:pt x="1545" y="6802"/>
                  </a:lnTo>
                  <a:lnTo>
                    <a:pt x="692" y="6802"/>
                  </a:lnTo>
                  <a:lnTo>
                    <a:pt x="586" y="7234"/>
                  </a:lnTo>
                  <a:lnTo>
                    <a:pt x="461" y="7837"/>
                  </a:lnTo>
                  <a:lnTo>
                    <a:pt x="355" y="8493"/>
                  </a:lnTo>
                  <a:lnTo>
                    <a:pt x="248" y="9187"/>
                  </a:lnTo>
                  <a:lnTo>
                    <a:pt x="142" y="9869"/>
                  </a:lnTo>
                  <a:lnTo>
                    <a:pt x="106" y="10498"/>
                  </a:lnTo>
                  <a:lnTo>
                    <a:pt x="106" y="10983"/>
                  </a:lnTo>
                  <a:lnTo>
                    <a:pt x="106" y="11311"/>
                  </a:lnTo>
                  <a:lnTo>
                    <a:pt x="213" y="11481"/>
                  </a:lnTo>
                  <a:lnTo>
                    <a:pt x="319" y="11651"/>
                  </a:lnTo>
                  <a:lnTo>
                    <a:pt x="497" y="11783"/>
                  </a:lnTo>
                  <a:lnTo>
                    <a:pt x="692" y="11914"/>
                  </a:lnTo>
                  <a:lnTo>
                    <a:pt x="941" y="12032"/>
                  </a:lnTo>
                  <a:lnTo>
                    <a:pt x="1207" y="12110"/>
                  </a:lnTo>
                  <a:lnTo>
                    <a:pt x="1509" y="12189"/>
                  </a:lnTo>
                  <a:lnTo>
                    <a:pt x="1794" y="12241"/>
                  </a:lnTo>
                  <a:lnTo>
                    <a:pt x="2131" y="12267"/>
                  </a:lnTo>
                  <a:lnTo>
                    <a:pt x="2433" y="12281"/>
                  </a:lnTo>
                  <a:lnTo>
                    <a:pt x="2735" y="12267"/>
                  </a:lnTo>
                  <a:lnTo>
                    <a:pt x="3055" y="12241"/>
                  </a:lnTo>
                  <a:lnTo>
                    <a:pt x="3357" y="12189"/>
                  </a:lnTo>
                  <a:lnTo>
                    <a:pt x="3623" y="12084"/>
                  </a:lnTo>
                  <a:lnTo>
                    <a:pt x="3872" y="11979"/>
                  </a:lnTo>
                  <a:lnTo>
                    <a:pt x="4103" y="11861"/>
                  </a:lnTo>
                  <a:lnTo>
                    <a:pt x="4316" y="11704"/>
                  </a:lnTo>
                  <a:lnTo>
                    <a:pt x="4582" y="11612"/>
                  </a:lnTo>
                  <a:lnTo>
                    <a:pt x="4849" y="11533"/>
                  </a:lnTo>
                  <a:lnTo>
                    <a:pt x="5169" y="11507"/>
                  </a:lnTo>
                  <a:lnTo>
                    <a:pt x="5506" y="11481"/>
                  </a:lnTo>
                  <a:lnTo>
                    <a:pt x="5808" y="11507"/>
                  </a:lnTo>
                  <a:lnTo>
                    <a:pt x="6146" y="11560"/>
                  </a:lnTo>
                  <a:lnTo>
                    <a:pt x="6501" y="11651"/>
                  </a:lnTo>
                  <a:lnTo>
                    <a:pt x="6803" y="11783"/>
                  </a:lnTo>
                  <a:lnTo>
                    <a:pt x="7105" y="11940"/>
                  </a:lnTo>
                  <a:lnTo>
                    <a:pt x="7353" y="12110"/>
                  </a:lnTo>
                  <a:lnTo>
                    <a:pt x="7584" y="12333"/>
                  </a:lnTo>
                  <a:lnTo>
                    <a:pt x="7798" y="12595"/>
                  </a:lnTo>
                  <a:lnTo>
                    <a:pt x="7922" y="12870"/>
                  </a:lnTo>
                  <a:lnTo>
                    <a:pt x="8028" y="13198"/>
                  </a:lnTo>
                  <a:lnTo>
                    <a:pt x="8064" y="13526"/>
                  </a:lnTo>
                  <a:lnTo>
                    <a:pt x="8028" y="13775"/>
                  </a:lnTo>
                  <a:lnTo>
                    <a:pt x="7922" y="13998"/>
                  </a:lnTo>
                  <a:lnTo>
                    <a:pt x="7798" y="14220"/>
                  </a:lnTo>
                  <a:lnTo>
                    <a:pt x="7584" y="14404"/>
                  </a:lnTo>
                  <a:lnTo>
                    <a:pt x="7353" y="14574"/>
                  </a:lnTo>
                  <a:lnTo>
                    <a:pt x="7105" y="14732"/>
                  </a:lnTo>
                  <a:lnTo>
                    <a:pt x="6803" y="14850"/>
                  </a:lnTo>
                  <a:lnTo>
                    <a:pt x="6501" y="14954"/>
                  </a:lnTo>
                  <a:lnTo>
                    <a:pt x="6146" y="15033"/>
                  </a:lnTo>
                  <a:lnTo>
                    <a:pt x="5808" y="15085"/>
                  </a:lnTo>
                  <a:lnTo>
                    <a:pt x="5506" y="15085"/>
                  </a:lnTo>
                  <a:lnTo>
                    <a:pt x="5169" y="15059"/>
                  </a:lnTo>
                  <a:lnTo>
                    <a:pt x="4849" y="15007"/>
                  </a:lnTo>
                  <a:lnTo>
                    <a:pt x="4582" y="14902"/>
                  </a:lnTo>
                  <a:lnTo>
                    <a:pt x="4316" y="14784"/>
                  </a:lnTo>
                  <a:lnTo>
                    <a:pt x="4103" y="14600"/>
                  </a:lnTo>
                  <a:lnTo>
                    <a:pt x="3907" y="14430"/>
                  </a:lnTo>
                  <a:lnTo>
                    <a:pt x="3659" y="14299"/>
                  </a:lnTo>
                  <a:lnTo>
                    <a:pt x="3428" y="14194"/>
                  </a:lnTo>
                  <a:lnTo>
                    <a:pt x="3179" y="14129"/>
                  </a:lnTo>
                  <a:lnTo>
                    <a:pt x="2913" y="14102"/>
                  </a:lnTo>
                  <a:lnTo>
                    <a:pt x="2646" y="14102"/>
                  </a:lnTo>
                  <a:lnTo>
                    <a:pt x="2362" y="14129"/>
                  </a:lnTo>
                  <a:lnTo>
                    <a:pt x="2096" y="14168"/>
                  </a:lnTo>
                  <a:lnTo>
                    <a:pt x="1811" y="14273"/>
                  </a:lnTo>
                  <a:lnTo>
                    <a:pt x="1545" y="14378"/>
                  </a:lnTo>
                  <a:lnTo>
                    <a:pt x="1314" y="14496"/>
                  </a:lnTo>
                  <a:lnTo>
                    <a:pt x="1065" y="14653"/>
                  </a:lnTo>
                  <a:lnTo>
                    <a:pt x="870" y="14797"/>
                  </a:lnTo>
                  <a:lnTo>
                    <a:pt x="657" y="14981"/>
                  </a:lnTo>
                  <a:lnTo>
                    <a:pt x="497" y="15177"/>
                  </a:lnTo>
                  <a:lnTo>
                    <a:pt x="390" y="15413"/>
                  </a:lnTo>
                  <a:lnTo>
                    <a:pt x="284" y="15636"/>
                  </a:lnTo>
                  <a:lnTo>
                    <a:pt x="248" y="15911"/>
                  </a:lnTo>
                  <a:lnTo>
                    <a:pt x="284" y="16239"/>
                  </a:lnTo>
                  <a:lnTo>
                    <a:pt x="319" y="16566"/>
                  </a:lnTo>
                  <a:lnTo>
                    <a:pt x="497" y="17340"/>
                  </a:lnTo>
                  <a:lnTo>
                    <a:pt x="692" y="18152"/>
                  </a:lnTo>
                  <a:lnTo>
                    <a:pt x="799" y="18559"/>
                  </a:lnTo>
                  <a:lnTo>
                    <a:pt x="905" y="18978"/>
                  </a:lnTo>
                  <a:lnTo>
                    <a:pt x="959" y="19384"/>
                  </a:lnTo>
                  <a:lnTo>
                    <a:pt x="994" y="19791"/>
                  </a:lnTo>
                  <a:lnTo>
                    <a:pt x="994" y="20132"/>
                  </a:lnTo>
                  <a:lnTo>
                    <a:pt x="959" y="20485"/>
                  </a:lnTo>
                  <a:lnTo>
                    <a:pt x="941" y="20669"/>
                  </a:lnTo>
                  <a:lnTo>
                    <a:pt x="870" y="20813"/>
                  </a:lnTo>
                  <a:lnTo>
                    <a:pt x="799" y="20970"/>
                  </a:lnTo>
                  <a:lnTo>
                    <a:pt x="692" y="21088"/>
                  </a:lnTo>
                  <a:lnTo>
                    <a:pt x="1474" y="20997"/>
                  </a:lnTo>
                  <a:lnTo>
                    <a:pt x="2291" y="20866"/>
                  </a:lnTo>
                  <a:lnTo>
                    <a:pt x="3108" y="20787"/>
                  </a:lnTo>
                  <a:lnTo>
                    <a:pt x="3907" y="20721"/>
                  </a:lnTo>
                  <a:lnTo>
                    <a:pt x="4653" y="20695"/>
                  </a:lnTo>
                  <a:lnTo>
                    <a:pt x="5364" y="20695"/>
                  </a:lnTo>
                  <a:lnTo>
                    <a:pt x="5701" y="20721"/>
                  </a:lnTo>
                  <a:lnTo>
                    <a:pt x="6057" y="20761"/>
                  </a:lnTo>
                  <a:lnTo>
                    <a:pt x="6323" y="20813"/>
                  </a:lnTo>
                  <a:lnTo>
                    <a:pt x="6625" y="20892"/>
                  </a:lnTo>
                  <a:close/>
                </a:path>
              </a:pathLst>
            </a:custGeom>
            <a:solidFill>
              <a:srgbClr val="FFBE7D"/>
            </a:solidFill>
            <a:ln w="28575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Puzzle4"/>
            <p:cNvSpPr>
              <a:spLocks noEditPoints="1" noChangeArrowheads="1"/>
            </p:cNvSpPr>
            <p:nvPr/>
          </p:nvSpPr>
          <p:spPr bwMode="auto">
            <a:xfrm>
              <a:off x="3543" y="1138"/>
              <a:ext cx="879" cy="1217"/>
            </a:xfrm>
            <a:custGeom>
              <a:avLst/>
              <a:gdLst>
                <a:gd name="T0" fmla="*/ 8307 w 21600"/>
                <a:gd name="T1" fmla="*/ 11593 h 21600"/>
                <a:gd name="T2" fmla="*/ 453 w 21600"/>
                <a:gd name="T3" fmla="*/ 16938 h 21600"/>
                <a:gd name="T4" fmla="*/ 11500 w 21600"/>
                <a:gd name="T5" fmla="*/ 21600 h 21600"/>
                <a:gd name="T6" fmla="*/ 20920 w 21600"/>
                <a:gd name="T7" fmla="*/ 16751 h 21600"/>
                <a:gd name="T8" fmla="*/ 13972 w 21600"/>
                <a:gd name="T9" fmla="*/ 10888 h 21600"/>
                <a:gd name="T10" fmla="*/ 21033 w 21600"/>
                <a:gd name="T11" fmla="*/ 4716 h 21600"/>
                <a:gd name="T12" fmla="*/ 11102 w 21600"/>
                <a:gd name="T13" fmla="*/ 11 h 21600"/>
                <a:gd name="T14" fmla="*/ 453 w 21600"/>
                <a:gd name="T15" fmla="*/ 4716 h 21600"/>
                <a:gd name="T16" fmla="*/ 2076 w 21600"/>
                <a:gd name="T17" fmla="*/ 5664 h 21600"/>
                <a:gd name="T18" fmla="*/ 20203 w 21600"/>
                <a:gd name="T19" fmla="*/ 1598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3813" y="10590"/>
                  </a:moveTo>
                  <a:lnTo>
                    <a:pt x="3927" y="10513"/>
                  </a:lnTo>
                  <a:lnTo>
                    <a:pt x="4078" y="10425"/>
                  </a:lnTo>
                  <a:lnTo>
                    <a:pt x="4210" y="10359"/>
                  </a:lnTo>
                  <a:lnTo>
                    <a:pt x="4361" y="10315"/>
                  </a:lnTo>
                  <a:lnTo>
                    <a:pt x="4682" y="10237"/>
                  </a:lnTo>
                  <a:lnTo>
                    <a:pt x="5041" y="10193"/>
                  </a:lnTo>
                  <a:lnTo>
                    <a:pt x="5456" y="10171"/>
                  </a:lnTo>
                  <a:lnTo>
                    <a:pt x="5853" y="10193"/>
                  </a:lnTo>
                  <a:lnTo>
                    <a:pt x="6249" y="10260"/>
                  </a:lnTo>
                  <a:lnTo>
                    <a:pt x="6646" y="10337"/>
                  </a:lnTo>
                  <a:lnTo>
                    <a:pt x="7004" y="10469"/>
                  </a:lnTo>
                  <a:lnTo>
                    <a:pt x="7363" y="10612"/>
                  </a:lnTo>
                  <a:lnTo>
                    <a:pt x="7665" y="10788"/>
                  </a:lnTo>
                  <a:lnTo>
                    <a:pt x="7911" y="10998"/>
                  </a:lnTo>
                  <a:lnTo>
                    <a:pt x="8024" y="11097"/>
                  </a:lnTo>
                  <a:lnTo>
                    <a:pt x="8137" y="11207"/>
                  </a:lnTo>
                  <a:lnTo>
                    <a:pt x="8194" y="11340"/>
                  </a:lnTo>
                  <a:lnTo>
                    <a:pt x="8269" y="11461"/>
                  </a:lnTo>
                  <a:lnTo>
                    <a:pt x="8307" y="11593"/>
                  </a:lnTo>
                  <a:lnTo>
                    <a:pt x="8307" y="11714"/>
                  </a:lnTo>
                  <a:lnTo>
                    <a:pt x="8307" y="11868"/>
                  </a:lnTo>
                  <a:lnTo>
                    <a:pt x="8307" y="12012"/>
                  </a:lnTo>
                  <a:lnTo>
                    <a:pt x="8194" y="12265"/>
                  </a:lnTo>
                  <a:lnTo>
                    <a:pt x="8062" y="12519"/>
                  </a:lnTo>
                  <a:lnTo>
                    <a:pt x="7873" y="12706"/>
                  </a:lnTo>
                  <a:lnTo>
                    <a:pt x="7627" y="12904"/>
                  </a:lnTo>
                  <a:lnTo>
                    <a:pt x="7363" y="13048"/>
                  </a:lnTo>
                  <a:lnTo>
                    <a:pt x="7080" y="13180"/>
                  </a:lnTo>
                  <a:lnTo>
                    <a:pt x="6759" y="13257"/>
                  </a:lnTo>
                  <a:lnTo>
                    <a:pt x="6419" y="13345"/>
                  </a:lnTo>
                  <a:lnTo>
                    <a:pt x="6098" y="13389"/>
                  </a:lnTo>
                  <a:lnTo>
                    <a:pt x="5739" y="13389"/>
                  </a:lnTo>
                  <a:lnTo>
                    <a:pt x="5418" y="13389"/>
                  </a:lnTo>
                  <a:lnTo>
                    <a:pt x="5079" y="13345"/>
                  </a:lnTo>
                  <a:lnTo>
                    <a:pt x="4758" y="13301"/>
                  </a:lnTo>
                  <a:lnTo>
                    <a:pt x="4474" y="13213"/>
                  </a:lnTo>
                  <a:lnTo>
                    <a:pt x="4172" y="13114"/>
                  </a:lnTo>
                  <a:lnTo>
                    <a:pt x="3965" y="12982"/>
                  </a:lnTo>
                  <a:lnTo>
                    <a:pt x="3738" y="12838"/>
                  </a:lnTo>
                  <a:lnTo>
                    <a:pt x="3493" y="12706"/>
                  </a:lnTo>
                  <a:lnTo>
                    <a:pt x="3228" y="12607"/>
                  </a:lnTo>
                  <a:lnTo>
                    <a:pt x="2945" y="12519"/>
                  </a:lnTo>
                  <a:lnTo>
                    <a:pt x="2700" y="12431"/>
                  </a:lnTo>
                  <a:lnTo>
                    <a:pt x="2397" y="12375"/>
                  </a:lnTo>
                  <a:lnTo>
                    <a:pt x="2152" y="12331"/>
                  </a:lnTo>
                  <a:lnTo>
                    <a:pt x="1888" y="12309"/>
                  </a:lnTo>
                  <a:lnTo>
                    <a:pt x="1642" y="12309"/>
                  </a:lnTo>
                  <a:lnTo>
                    <a:pt x="1397" y="12331"/>
                  </a:lnTo>
                  <a:lnTo>
                    <a:pt x="1170" y="12397"/>
                  </a:lnTo>
                  <a:lnTo>
                    <a:pt x="962" y="12453"/>
                  </a:lnTo>
                  <a:lnTo>
                    <a:pt x="774" y="12563"/>
                  </a:lnTo>
                  <a:lnTo>
                    <a:pt x="623" y="12684"/>
                  </a:lnTo>
                  <a:lnTo>
                    <a:pt x="528" y="12838"/>
                  </a:lnTo>
                  <a:lnTo>
                    <a:pt x="453" y="13026"/>
                  </a:lnTo>
                  <a:lnTo>
                    <a:pt x="339" y="13477"/>
                  </a:lnTo>
                  <a:lnTo>
                    <a:pt x="226" y="13984"/>
                  </a:lnTo>
                  <a:lnTo>
                    <a:pt x="151" y="14535"/>
                  </a:lnTo>
                  <a:lnTo>
                    <a:pt x="113" y="15075"/>
                  </a:lnTo>
                  <a:lnTo>
                    <a:pt x="113" y="15626"/>
                  </a:lnTo>
                  <a:lnTo>
                    <a:pt x="151" y="16133"/>
                  </a:lnTo>
                  <a:lnTo>
                    <a:pt x="188" y="16376"/>
                  </a:lnTo>
                  <a:lnTo>
                    <a:pt x="264" y="16585"/>
                  </a:lnTo>
                  <a:lnTo>
                    <a:pt x="339" y="16773"/>
                  </a:lnTo>
                  <a:lnTo>
                    <a:pt x="453" y="16938"/>
                  </a:lnTo>
                  <a:lnTo>
                    <a:pt x="1095" y="16883"/>
                  </a:lnTo>
                  <a:lnTo>
                    <a:pt x="1963" y="16795"/>
                  </a:lnTo>
                  <a:lnTo>
                    <a:pt x="2945" y="16751"/>
                  </a:lnTo>
                  <a:lnTo>
                    <a:pt x="3965" y="16706"/>
                  </a:lnTo>
                  <a:lnTo>
                    <a:pt x="5022" y="16684"/>
                  </a:lnTo>
                  <a:lnTo>
                    <a:pt x="5947" y="16684"/>
                  </a:lnTo>
                  <a:lnTo>
                    <a:pt x="6759" y="16706"/>
                  </a:lnTo>
                  <a:lnTo>
                    <a:pt x="7363" y="16751"/>
                  </a:lnTo>
                  <a:lnTo>
                    <a:pt x="7948" y="16839"/>
                  </a:lnTo>
                  <a:lnTo>
                    <a:pt x="8458" y="16916"/>
                  </a:lnTo>
                  <a:lnTo>
                    <a:pt x="8893" y="17026"/>
                  </a:lnTo>
                  <a:lnTo>
                    <a:pt x="9289" y="17158"/>
                  </a:lnTo>
                  <a:lnTo>
                    <a:pt x="9572" y="17280"/>
                  </a:lnTo>
                  <a:lnTo>
                    <a:pt x="9799" y="17412"/>
                  </a:lnTo>
                  <a:lnTo>
                    <a:pt x="9969" y="17555"/>
                  </a:lnTo>
                  <a:lnTo>
                    <a:pt x="10120" y="17687"/>
                  </a:lnTo>
                  <a:lnTo>
                    <a:pt x="10158" y="17831"/>
                  </a:lnTo>
                  <a:lnTo>
                    <a:pt x="10195" y="17974"/>
                  </a:lnTo>
                  <a:lnTo>
                    <a:pt x="10158" y="18128"/>
                  </a:lnTo>
                  <a:lnTo>
                    <a:pt x="10082" y="18271"/>
                  </a:lnTo>
                  <a:lnTo>
                    <a:pt x="9969" y="18426"/>
                  </a:lnTo>
                  <a:lnTo>
                    <a:pt x="9837" y="18569"/>
                  </a:lnTo>
                  <a:lnTo>
                    <a:pt x="9648" y="18701"/>
                  </a:lnTo>
                  <a:lnTo>
                    <a:pt x="9440" y="18822"/>
                  </a:lnTo>
                  <a:lnTo>
                    <a:pt x="9213" y="18999"/>
                  </a:lnTo>
                  <a:lnTo>
                    <a:pt x="9044" y="19186"/>
                  </a:lnTo>
                  <a:lnTo>
                    <a:pt x="8893" y="19395"/>
                  </a:lnTo>
                  <a:lnTo>
                    <a:pt x="8817" y="19627"/>
                  </a:lnTo>
                  <a:lnTo>
                    <a:pt x="8779" y="19858"/>
                  </a:lnTo>
                  <a:lnTo>
                    <a:pt x="8779" y="20112"/>
                  </a:lnTo>
                  <a:lnTo>
                    <a:pt x="8855" y="20354"/>
                  </a:lnTo>
                  <a:lnTo>
                    <a:pt x="8968" y="20586"/>
                  </a:lnTo>
                  <a:lnTo>
                    <a:pt x="9138" y="20817"/>
                  </a:lnTo>
                  <a:lnTo>
                    <a:pt x="9365" y="21026"/>
                  </a:lnTo>
                  <a:lnTo>
                    <a:pt x="9610" y="21192"/>
                  </a:lnTo>
                  <a:lnTo>
                    <a:pt x="9950" y="21368"/>
                  </a:lnTo>
                  <a:lnTo>
                    <a:pt x="10120" y="21445"/>
                  </a:lnTo>
                  <a:lnTo>
                    <a:pt x="10346" y="21511"/>
                  </a:lnTo>
                  <a:lnTo>
                    <a:pt x="10516" y="21555"/>
                  </a:lnTo>
                  <a:lnTo>
                    <a:pt x="10743" y="21600"/>
                  </a:lnTo>
                  <a:lnTo>
                    <a:pt x="10988" y="21644"/>
                  </a:lnTo>
                  <a:lnTo>
                    <a:pt x="11215" y="21666"/>
                  </a:lnTo>
                  <a:lnTo>
                    <a:pt x="11498" y="21666"/>
                  </a:lnTo>
                  <a:lnTo>
                    <a:pt x="11762" y="21666"/>
                  </a:lnTo>
                  <a:lnTo>
                    <a:pt x="12253" y="21644"/>
                  </a:lnTo>
                  <a:lnTo>
                    <a:pt x="12763" y="21577"/>
                  </a:lnTo>
                  <a:lnTo>
                    <a:pt x="13197" y="21467"/>
                  </a:lnTo>
                  <a:lnTo>
                    <a:pt x="13556" y="21346"/>
                  </a:lnTo>
                  <a:lnTo>
                    <a:pt x="13896" y="21192"/>
                  </a:lnTo>
                  <a:lnTo>
                    <a:pt x="14179" y="21026"/>
                  </a:lnTo>
                  <a:lnTo>
                    <a:pt x="14444" y="20839"/>
                  </a:lnTo>
                  <a:lnTo>
                    <a:pt x="14576" y="20641"/>
                  </a:lnTo>
                  <a:lnTo>
                    <a:pt x="14727" y="20431"/>
                  </a:lnTo>
                  <a:lnTo>
                    <a:pt x="14765" y="20200"/>
                  </a:lnTo>
                  <a:lnTo>
                    <a:pt x="14802" y="19991"/>
                  </a:lnTo>
                  <a:lnTo>
                    <a:pt x="14727" y="19759"/>
                  </a:lnTo>
                  <a:lnTo>
                    <a:pt x="14613" y="19550"/>
                  </a:lnTo>
                  <a:lnTo>
                    <a:pt x="14444" y="19307"/>
                  </a:lnTo>
                  <a:lnTo>
                    <a:pt x="14217" y="19098"/>
                  </a:lnTo>
                  <a:lnTo>
                    <a:pt x="13934" y="18911"/>
                  </a:lnTo>
                  <a:lnTo>
                    <a:pt x="13669" y="18745"/>
                  </a:lnTo>
                  <a:lnTo>
                    <a:pt x="13462" y="18547"/>
                  </a:lnTo>
                  <a:lnTo>
                    <a:pt x="13311" y="18337"/>
                  </a:lnTo>
                  <a:lnTo>
                    <a:pt x="13197" y="18150"/>
                  </a:lnTo>
                  <a:lnTo>
                    <a:pt x="13122" y="17941"/>
                  </a:lnTo>
                  <a:lnTo>
                    <a:pt x="13122" y="17720"/>
                  </a:lnTo>
                  <a:lnTo>
                    <a:pt x="13122" y="17533"/>
                  </a:lnTo>
                  <a:lnTo>
                    <a:pt x="13197" y="17346"/>
                  </a:lnTo>
                  <a:lnTo>
                    <a:pt x="13273" y="17158"/>
                  </a:lnTo>
                  <a:lnTo>
                    <a:pt x="13386" y="16982"/>
                  </a:lnTo>
                  <a:lnTo>
                    <a:pt x="13537" y="16839"/>
                  </a:lnTo>
                  <a:lnTo>
                    <a:pt x="13707" y="16706"/>
                  </a:lnTo>
                  <a:lnTo>
                    <a:pt x="13896" y="16607"/>
                  </a:lnTo>
                  <a:lnTo>
                    <a:pt x="14104" y="16519"/>
                  </a:lnTo>
                  <a:lnTo>
                    <a:pt x="14330" y="16453"/>
                  </a:lnTo>
                  <a:lnTo>
                    <a:pt x="14538" y="16431"/>
                  </a:lnTo>
                  <a:lnTo>
                    <a:pt x="14897" y="16453"/>
                  </a:lnTo>
                  <a:lnTo>
                    <a:pt x="15406" y="16497"/>
                  </a:lnTo>
                  <a:lnTo>
                    <a:pt x="16105" y="16541"/>
                  </a:lnTo>
                  <a:lnTo>
                    <a:pt x="16898" y="16607"/>
                  </a:lnTo>
                  <a:lnTo>
                    <a:pt x="17804" y="16651"/>
                  </a:lnTo>
                  <a:lnTo>
                    <a:pt x="18786" y="16684"/>
                  </a:lnTo>
                  <a:lnTo>
                    <a:pt x="19844" y="16728"/>
                  </a:lnTo>
                  <a:lnTo>
                    <a:pt x="20920" y="16751"/>
                  </a:lnTo>
                  <a:lnTo>
                    <a:pt x="21109" y="16497"/>
                  </a:lnTo>
                  <a:lnTo>
                    <a:pt x="21241" y="16222"/>
                  </a:lnTo>
                  <a:lnTo>
                    <a:pt x="21392" y="15946"/>
                  </a:lnTo>
                  <a:lnTo>
                    <a:pt x="21467" y="15648"/>
                  </a:lnTo>
                  <a:lnTo>
                    <a:pt x="21543" y="15351"/>
                  </a:lnTo>
                  <a:lnTo>
                    <a:pt x="21618" y="15042"/>
                  </a:lnTo>
                  <a:lnTo>
                    <a:pt x="21618" y="14745"/>
                  </a:lnTo>
                  <a:lnTo>
                    <a:pt x="21618" y="14447"/>
                  </a:lnTo>
                  <a:lnTo>
                    <a:pt x="21618" y="14150"/>
                  </a:lnTo>
                  <a:lnTo>
                    <a:pt x="21581" y="13852"/>
                  </a:lnTo>
                  <a:lnTo>
                    <a:pt x="21505" y="13577"/>
                  </a:lnTo>
                  <a:lnTo>
                    <a:pt x="21430" y="13301"/>
                  </a:lnTo>
                  <a:lnTo>
                    <a:pt x="21354" y="13048"/>
                  </a:lnTo>
                  <a:lnTo>
                    <a:pt x="21241" y="12816"/>
                  </a:lnTo>
                  <a:lnTo>
                    <a:pt x="21146" y="12607"/>
                  </a:lnTo>
                  <a:lnTo>
                    <a:pt x="21033" y="12431"/>
                  </a:lnTo>
                  <a:lnTo>
                    <a:pt x="20920" y="12265"/>
                  </a:lnTo>
                  <a:lnTo>
                    <a:pt x="20769" y="12144"/>
                  </a:lnTo>
                  <a:lnTo>
                    <a:pt x="20637" y="12034"/>
                  </a:lnTo>
                  <a:lnTo>
                    <a:pt x="20486" y="11946"/>
                  </a:lnTo>
                  <a:lnTo>
                    <a:pt x="20297" y="11891"/>
                  </a:lnTo>
                  <a:lnTo>
                    <a:pt x="20165" y="11846"/>
                  </a:lnTo>
                  <a:lnTo>
                    <a:pt x="19976" y="11824"/>
                  </a:lnTo>
                  <a:lnTo>
                    <a:pt x="19806" y="11802"/>
                  </a:lnTo>
                  <a:lnTo>
                    <a:pt x="19390" y="11824"/>
                  </a:lnTo>
                  <a:lnTo>
                    <a:pt x="18956" y="11891"/>
                  </a:lnTo>
                  <a:lnTo>
                    <a:pt x="18503" y="11968"/>
                  </a:lnTo>
                  <a:lnTo>
                    <a:pt x="17993" y="12078"/>
                  </a:lnTo>
                  <a:lnTo>
                    <a:pt x="17653" y="12144"/>
                  </a:lnTo>
                  <a:lnTo>
                    <a:pt x="17332" y="12199"/>
                  </a:lnTo>
                  <a:lnTo>
                    <a:pt x="17049" y="12221"/>
                  </a:lnTo>
                  <a:lnTo>
                    <a:pt x="16747" y="12243"/>
                  </a:lnTo>
                  <a:lnTo>
                    <a:pt x="16464" y="12243"/>
                  </a:lnTo>
                  <a:lnTo>
                    <a:pt x="16218" y="12243"/>
                  </a:lnTo>
                  <a:lnTo>
                    <a:pt x="15992" y="12221"/>
                  </a:lnTo>
                  <a:lnTo>
                    <a:pt x="15746" y="12199"/>
                  </a:lnTo>
                  <a:lnTo>
                    <a:pt x="15520" y="12155"/>
                  </a:lnTo>
                  <a:lnTo>
                    <a:pt x="15350" y="12122"/>
                  </a:lnTo>
                  <a:lnTo>
                    <a:pt x="15161" y="12056"/>
                  </a:lnTo>
                  <a:lnTo>
                    <a:pt x="14972" y="11990"/>
                  </a:lnTo>
                  <a:lnTo>
                    <a:pt x="14689" y="11846"/>
                  </a:lnTo>
                  <a:lnTo>
                    <a:pt x="14444" y="11670"/>
                  </a:lnTo>
                  <a:lnTo>
                    <a:pt x="14255" y="11483"/>
                  </a:lnTo>
                  <a:lnTo>
                    <a:pt x="14104" y="11295"/>
                  </a:lnTo>
                  <a:lnTo>
                    <a:pt x="14028" y="11086"/>
                  </a:lnTo>
                  <a:lnTo>
                    <a:pt x="13972" y="10888"/>
                  </a:lnTo>
                  <a:lnTo>
                    <a:pt x="13972" y="10700"/>
                  </a:lnTo>
                  <a:lnTo>
                    <a:pt x="14009" y="10513"/>
                  </a:lnTo>
                  <a:lnTo>
                    <a:pt x="14066" y="10359"/>
                  </a:lnTo>
                  <a:lnTo>
                    <a:pt x="14179" y="10215"/>
                  </a:lnTo>
                  <a:lnTo>
                    <a:pt x="14406" y="10006"/>
                  </a:lnTo>
                  <a:lnTo>
                    <a:pt x="14651" y="9830"/>
                  </a:lnTo>
                  <a:lnTo>
                    <a:pt x="14878" y="9686"/>
                  </a:lnTo>
                  <a:lnTo>
                    <a:pt x="15123" y="9554"/>
                  </a:lnTo>
                  <a:lnTo>
                    <a:pt x="15350" y="9477"/>
                  </a:lnTo>
                  <a:lnTo>
                    <a:pt x="15558" y="9411"/>
                  </a:lnTo>
                  <a:lnTo>
                    <a:pt x="15803" y="9345"/>
                  </a:lnTo>
                  <a:lnTo>
                    <a:pt x="16030" y="9323"/>
                  </a:lnTo>
                  <a:lnTo>
                    <a:pt x="16256" y="9301"/>
                  </a:lnTo>
                  <a:lnTo>
                    <a:pt x="16464" y="9323"/>
                  </a:lnTo>
                  <a:lnTo>
                    <a:pt x="16690" y="9345"/>
                  </a:lnTo>
                  <a:lnTo>
                    <a:pt x="16898" y="9367"/>
                  </a:lnTo>
                  <a:lnTo>
                    <a:pt x="17332" y="9477"/>
                  </a:lnTo>
                  <a:lnTo>
                    <a:pt x="17767" y="9598"/>
                  </a:lnTo>
                  <a:lnTo>
                    <a:pt x="18163" y="9731"/>
                  </a:lnTo>
                  <a:lnTo>
                    <a:pt x="18597" y="9874"/>
                  </a:lnTo>
                  <a:lnTo>
                    <a:pt x="18994" y="10006"/>
                  </a:lnTo>
                  <a:lnTo>
                    <a:pt x="19428" y="10083"/>
                  </a:lnTo>
                  <a:lnTo>
                    <a:pt x="19617" y="10127"/>
                  </a:lnTo>
                  <a:lnTo>
                    <a:pt x="19844" y="10149"/>
                  </a:lnTo>
                  <a:lnTo>
                    <a:pt x="20013" y="10149"/>
                  </a:lnTo>
                  <a:lnTo>
                    <a:pt x="20240" y="10127"/>
                  </a:lnTo>
                  <a:lnTo>
                    <a:pt x="20410" y="10105"/>
                  </a:lnTo>
                  <a:lnTo>
                    <a:pt x="20637" y="10061"/>
                  </a:lnTo>
                  <a:lnTo>
                    <a:pt x="20844" y="9984"/>
                  </a:lnTo>
                  <a:lnTo>
                    <a:pt x="21033" y="9896"/>
                  </a:lnTo>
                  <a:lnTo>
                    <a:pt x="21146" y="9830"/>
                  </a:lnTo>
                  <a:lnTo>
                    <a:pt x="21203" y="9753"/>
                  </a:lnTo>
                  <a:lnTo>
                    <a:pt x="21279" y="9642"/>
                  </a:lnTo>
                  <a:lnTo>
                    <a:pt x="21354" y="9521"/>
                  </a:lnTo>
                  <a:lnTo>
                    <a:pt x="21430" y="9246"/>
                  </a:lnTo>
                  <a:lnTo>
                    <a:pt x="21430" y="8904"/>
                  </a:lnTo>
                  <a:lnTo>
                    <a:pt x="21430" y="8540"/>
                  </a:lnTo>
                  <a:lnTo>
                    <a:pt x="21392" y="8144"/>
                  </a:lnTo>
                  <a:lnTo>
                    <a:pt x="21354" y="7714"/>
                  </a:lnTo>
                  <a:lnTo>
                    <a:pt x="21279" y="7295"/>
                  </a:lnTo>
                  <a:lnTo>
                    <a:pt x="21146" y="6446"/>
                  </a:lnTo>
                  <a:lnTo>
                    <a:pt x="20995" y="5686"/>
                  </a:lnTo>
                  <a:lnTo>
                    <a:pt x="20958" y="5366"/>
                  </a:lnTo>
                  <a:lnTo>
                    <a:pt x="20958" y="5091"/>
                  </a:lnTo>
                  <a:lnTo>
                    <a:pt x="20958" y="4860"/>
                  </a:lnTo>
                  <a:lnTo>
                    <a:pt x="21033" y="4716"/>
                  </a:lnTo>
                  <a:lnTo>
                    <a:pt x="20637" y="4860"/>
                  </a:lnTo>
                  <a:lnTo>
                    <a:pt x="20127" y="4992"/>
                  </a:lnTo>
                  <a:lnTo>
                    <a:pt x="19617" y="5069"/>
                  </a:lnTo>
                  <a:lnTo>
                    <a:pt x="19032" y="5157"/>
                  </a:lnTo>
                  <a:lnTo>
                    <a:pt x="18465" y="5201"/>
                  </a:lnTo>
                  <a:lnTo>
                    <a:pt x="17842" y="5245"/>
                  </a:lnTo>
                  <a:lnTo>
                    <a:pt x="17219" y="5267"/>
                  </a:lnTo>
                  <a:lnTo>
                    <a:pt x="16615" y="5267"/>
                  </a:lnTo>
                  <a:lnTo>
                    <a:pt x="15992" y="5245"/>
                  </a:lnTo>
                  <a:lnTo>
                    <a:pt x="15369" y="5201"/>
                  </a:lnTo>
                  <a:lnTo>
                    <a:pt x="14840" y="5157"/>
                  </a:lnTo>
                  <a:lnTo>
                    <a:pt x="14293" y="5091"/>
                  </a:lnTo>
                  <a:lnTo>
                    <a:pt x="13783" y="5014"/>
                  </a:lnTo>
                  <a:lnTo>
                    <a:pt x="13386" y="4926"/>
                  </a:lnTo>
                  <a:lnTo>
                    <a:pt x="13027" y="4815"/>
                  </a:lnTo>
                  <a:lnTo>
                    <a:pt x="12725" y="4716"/>
                  </a:lnTo>
                  <a:lnTo>
                    <a:pt x="12480" y="4606"/>
                  </a:lnTo>
                  <a:lnTo>
                    <a:pt x="12291" y="4496"/>
                  </a:lnTo>
                  <a:lnTo>
                    <a:pt x="12197" y="4397"/>
                  </a:lnTo>
                  <a:lnTo>
                    <a:pt x="12083" y="4286"/>
                  </a:lnTo>
                  <a:lnTo>
                    <a:pt x="12046" y="4187"/>
                  </a:lnTo>
                  <a:lnTo>
                    <a:pt x="12008" y="4077"/>
                  </a:lnTo>
                  <a:lnTo>
                    <a:pt x="12046" y="3967"/>
                  </a:lnTo>
                  <a:lnTo>
                    <a:pt x="12121" y="3868"/>
                  </a:lnTo>
                  <a:lnTo>
                    <a:pt x="12197" y="3735"/>
                  </a:lnTo>
                  <a:lnTo>
                    <a:pt x="12291" y="3614"/>
                  </a:lnTo>
                  <a:lnTo>
                    <a:pt x="12442" y="3482"/>
                  </a:lnTo>
                  <a:lnTo>
                    <a:pt x="12631" y="3361"/>
                  </a:lnTo>
                  <a:lnTo>
                    <a:pt x="13065" y="3085"/>
                  </a:lnTo>
                  <a:lnTo>
                    <a:pt x="13537" y="2766"/>
                  </a:lnTo>
                  <a:lnTo>
                    <a:pt x="13783" y="2578"/>
                  </a:lnTo>
                  <a:lnTo>
                    <a:pt x="13934" y="2380"/>
                  </a:lnTo>
                  <a:lnTo>
                    <a:pt x="14028" y="2171"/>
                  </a:lnTo>
                  <a:lnTo>
                    <a:pt x="14104" y="1961"/>
                  </a:lnTo>
                  <a:lnTo>
                    <a:pt x="14104" y="1730"/>
                  </a:lnTo>
                  <a:lnTo>
                    <a:pt x="14066" y="1498"/>
                  </a:lnTo>
                  <a:lnTo>
                    <a:pt x="13972" y="1267"/>
                  </a:lnTo>
                  <a:lnTo>
                    <a:pt x="13820" y="1057"/>
                  </a:lnTo>
                  <a:lnTo>
                    <a:pt x="13594" y="837"/>
                  </a:lnTo>
                  <a:lnTo>
                    <a:pt x="13386" y="628"/>
                  </a:lnTo>
                  <a:lnTo>
                    <a:pt x="13103" y="462"/>
                  </a:lnTo>
                  <a:lnTo>
                    <a:pt x="12763" y="308"/>
                  </a:lnTo>
                  <a:lnTo>
                    <a:pt x="12404" y="187"/>
                  </a:lnTo>
                  <a:lnTo>
                    <a:pt x="12008" y="77"/>
                  </a:lnTo>
                  <a:lnTo>
                    <a:pt x="11574" y="33"/>
                  </a:lnTo>
                  <a:lnTo>
                    <a:pt x="11102" y="11"/>
                  </a:lnTo>
                  <a:lnTo>
                    <a:pt x="10667" y="11"/>
                  </a:lnTo>
                  <a:lnTo>
                    <a:pt x="10233" y="77"/>
                  </a:lnTo>
                  <a:lnTo>
                    <a:pt x="9837" y="187"/>
                  </a:lnTo>
                  <a:lnTo>
                    <a:pt x="9440" y="286"/>
                  </a:lnTo>
                  <a:lnTo>
                    <a:pt x="9062" y="462"/>
                  </a:lnTo>
                  <a:lnTo>
                    <a:pt x="8741" y="628"/>
                  </a:lnTo>
                  <a:lnTo>
                    <a:pt x="8458" y="815"/>
                  </a:lnTo>
                  <a:lnTo>
                    <a:pt x="8232" y="1035"/>
                  </a:lnTo>
                  <a:lnTo>
                    <a:pt x="8062" y="1245"/>
                  </a:lnTo>
                  <a:lnTo>
                    <a:pt x="7911" y="1476"/>
                  </a:lnTo>
                  <a:lnTo>
                    <a:pt x="7835" y="1708"/>
                  </a:lnTo>
                  <a:lnTo>
                    <a:pt x="7797" y="1961"/>
                  </a:lnTo>
                  <a:lnTo>
                    <a:pt x="7835" y="2193"/>
                  </a:lnTo>
                  <a:lnTo>
                    <a:pt x="7948" y="2402"/>
                  </a:lnTo>
                  <a:lnTo>
                    <a:pt x="8062" y="2534"/>
                  </a:lnTo>
                  <a:lnTo>
                    <a:pt x="8175" y="2644"/>
                  </a:lnTo>
                  <a:lnTo>
                    <a:pt x="8269" y="2744"/>
                  </a:lnTo>
                  <a:lnTo>
                    <a:pt x="8420" y="2832"/>
                  </a:lnTo>
                  <a:lnTo>
                    <a:pt x="8704" y="3019"/>
                  </a:lnTo>
                  <a:lnTo>
                    <a:pt x="8968" y="3206"/>
                  </a:lnTo>
                  <a:lnTo>
                    <a:pt x="9138" y="3405"/>
                  </a:lnTo>
                  <a:lnTo>
                    <a:pt x="9327" y="3570"/>
                  </a:lnTo>
                  <a:lnTo>
                    <a:pt x="9440" y="3735"/>
                  </a:lnTo>
                  <a:lnTo>
                    <a:pt x="9516" y="3890"/>
                  </a:lnTo>
                  <a:lnTo>
                    <a:pt x="9534" y="4033"/>
                  </a:lnTo>
                  <a:lnTo>
                    <a:pt x="9534" y="4165"/>
                  </a:lnTo>
                  <a:lnTo>
                    <a:pt x="9516" y="4286"/>
                  </a:lnTo>
                  <a:lnTo>
                    <a:pt x="9440" y="4397"/>
                  </a:lnTo>
                  <a:lnTo>
                    <a:pt x="9327" y="4496"/>
                  </a:lnTo>
                  <a:lnTo>
                    <a:pt x="9176" y="4562"/>
                  </a:lnTo>
                  <a:lnTo>
                    <a:pt x="9006" y="4628"/>
                  </a:lnTo>
                  <a:lnTo>
                    <a:pt x="8779" y="4694"/>
                  </a:lnTo>
                  <a:lnTo>
                    <a:pt x="8534" y="4716"/>
                  </a:lnTo>
                  <a:lnTo>
                    <a:pt x="8232" y="4716"/>
                  </a:lnTo>
                  <a:lnTo>
                    <a:pt x="7118" y="4738"/>
                  </a:lnTo>
                  <a:lnTo>
                    <a:pt x="5947" y="4771"/>
                  </a:lnTo>
                  <a:lnTo>
                    <a:pt x="4795" y="4815"/>
                  </a:lnTo>
                  <a:lnTo>
                    <a:pt x="3681" y="4860"/>
                  </a:lnTo>
                  <a:lnTo>
                    <a:pt x="2662" y="4882"/>
                  </a:lnTo>
                  <a:lnTo>
                    <a:pt x="1755" y="4882"/>
                  </a:lnTo>
                  <a:lnTo>
                    <a:pt x="1359" y="4860"/>
                  </a:lnTo>
                  <a:lnTo>
                    <a:pt x="981" y="4837"/>
                  </a:lnTo>
                  <a:lnTo>
                    <a:pt x="698" y="4771"/>
                  </a:lnTo>
                  <a:lnTo>
                    <a:pt x="453" y="4716"/>
                  </a:lnTo>
                  <a:lnTo>
                    <a:pt x="453" y="5322"/>
                  </a:lnTo>
                  <a:lnTo>
                    <a:pt x="453" y="6083"/>
                  </a:lnTo>
                  <a:lnTo>
                    <a:pt x="453" y="6909"/>
                  </a:lnTo>
                  <a:lnTo>
                    <a:pt x="453" y="7780"/>
                  </a:lnTo>
                  <a:lnTo>
                    <a:pt x="453" y="8606"/>
                  </a:lnTo>
                  <a:lnTo>
                    <a:pt x="453" y="9345"/>
                  </a:lnTo>
                  <a:lnTo>
                    <a:pt x="453" y="9918"/>
                  </a:lnTo>
                  <a:lnTo>
                    <a:pt x="453" y="10282"/>
                  </a:lnTo>
                  <a:lnTo>
                    <a:pt x="490" y="10381"/>
                  </a:lnTo>
                  <a:lnTo>
                    <a:pt x="547" y="10491"/>
                  </a:lnTo>
                  <a:lnTo>
                    <a:pt x="660" y="10590"/>
                  </a:lnTo>
                  <a:lnTo>
                    <a:pt x="811" y="10700"/>
                  </a:lnTo>
                  <a:lnTo>
                    <a:pt x="981" y="10811"/>
                  </a:lnTo>
                  <a:lnTo>
                    <a:pt x="1208" y="10888"/>
                  </a:lnTo>
                  <a:lnTo>
                    <a:pt x="1453" y="10954"/>
                  </a:lnTo>
                  <a:lnTo>
                    <a:pt x="1718" y="11020"/>
                  </a:lnTo>
                  <a:lnTo>
                    <a:pt x="1963" y="11064"/>
                  </a:lnTo>
                  <a:lnTo>
                    <a:pt x="2265" y="11086"/>
                  </a:lnTo>
                  <a:lnTo>
                    <a:pt x="2548" y="11064"/>
                  </a:lnTo>
                  <a:lnTo>
                    <a:pt x="2794" y="11042"/>
                  </a:lnTo>
                  <a:lnTo>
                    <a:pt x="3096" y="10976"/>
                  </a:lnTo>
                  <a:lnTo>
                    <a:pt x="3341" y="10888"/>
                  </a:lnTo>
                  <a:lnTo>
                    <a:pt x="3606" y="10766"/>
                  </a:lnTo>
                  <a:lnTo>
                    <a:pt x="3813" y="10590"/>
                  </a:lnTo>
                  <a:close/>
                </a:path>
              </a:pathLst>
            </a:custGeom>
            <a:solidFill>
              <a:srgbClr val="D8EBB3"/>
            </a:solidFill>
            <a:ln w="28575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Puzzle1"/>
            <p:cNvSpPr>
              <a:spLocks noEditPoints="1" noChangeArrowheads="1"/>
            </p:cNvSpPr>
            <p:nvPr/>
          </p:nvSpPr>
          <p:spPr bwMode="auto">
            <a:xfrm>
              <a:off x="655" y="183"/>
              <a:ext cx="1217" cy="913"/>
            </a:xfrm>
            <a:custGeom>
              <a:avLst/>
              <a:gdLst>
                <a:gd name="T0" fmla="*/ 16740 w 21600"/>
                <a:gd name="T1" fmla="*/ 21078 h 21600"/>
                <a:gd name="T2" fmla="*/ 16976 w 21600"/>
                <a:gd name="T3" fmla="*/ 521 h 21600"/>
                <a:gd name="T4" fmla="*/ 4725 w 21600"/>
                <a:gd name="T5" fmla="*/ 856 h 21600"/>
                <a:gd name="T6" fmla="*/ 5040 w 21600"/>
                <a:gd name="T7" fmla="*/ 21004 h 21600"/>
                <a:gd name="T8" fmla="*/ 10811 w 21600"/>
                <a:gd name="T9" fmla="*/ 12885 h 21600"/>
                <a:gd name="T10" fmla="*/ 10845 w 21600"/>
                <a:gd name="T11" fmla="*/ 8714 h 21600"/>
                <a:gd name="T12" fmla="*/ 21600 w 21600"/>
                <a:gd name="T13" fmla="*/ 10000 h 21600"/>
                <a:gd name="T14" fmla="*/ 56 w 21600"/>
                <a:gd name="T15" fmla="*/ 10000 h 21600"/>
                <a:gd name="T16" fmla="*/ 6086 w 21600"/>
                <a:gd name="T17" fmla="*/ 2569 h 21600"/>
                <a:gd name="T18" fmla="*/ 16132 w 21600"/>
                <a:gd name="T19" fmla="*/ 19552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9360" y="20836"/>
                  </a:moveTo>
                  <a:lnTo>
                    <a:pt x="9528" y="20836"/>
                  </a:lnTo>
                  <a:lnTo>
                    <a:pt x="9686" y="20762"/>
                  </a:lnTo>
                  <a:lnTo>
                    <a:pt x="9810" y="20687"/>
                  </a:lnTo>
                  <a:lnTo>
                    <a:pt x="9922" y="20575"/>
                  </a:lnTo>
                  <a:lnTo>
                    <a:pt x="10012" y="20426"/>
                  </a:lnTo>
                  <a:lnTo>
                    <a:pt x="10068" y="20296"/>
                  </a:lnTo>
                  <a:lnTo>
                    <a:pt x="10113" y="20110"/>
                  </a:lnTo>
                  <a:lnTo>
                    <a:pt x="10136" y="19905"/>
                  </a:lnTo>
                  <a:lnTo>
                    <a:pt x="10136" y="19682"/>
                  </a:lnTo>
                  <a:lnTo>
                    <a:pt x="10113" y="19440"/>
                  </a:lnTo>
                  <a:lnTo>
                    <a:pt x="10068" y="19142"/>
                  </a:lnTo>
                  <a:lnTo>
                    <a:pt x="10012" y="18900"/>
                  </a:lnTo>
                  <a:lnTo>
                    <a:pt x="9900" y="18620"/>
                  </a:lnTo>
                  <a:lnTo>
                    <a:pt x="9787" y="18285"/>
                  </a:lnTo>
                  <a:lnTo>
                    <a:pt x="9641" y="17968"/>
                  </a:lnTo>
                  <a:lnTo>
                    <a:pt x="9472" y="17652"/>
                  </a:lnTo>
                  <a:lnTo>
                    <a:pt x="9382" y="17466"/>
                  </a:lnTo>
                  <a:lnTo>
                    <a:pt x="9315" y="17298"/>
                  </a:lnTo>
                  <a:lnTo>
                    <a:pt x="9258" y="17112"/>
                  </a:lnTo>
                  <a:lnTo>
                    <a:pt x="9191" y="16926"/>
                  </a:lnTo>
                  <a:lnTo>
                    <a:pt x="9123" y="16535"/>
                  </a:lnTo>
                  <a:lnTo>
                    <a:pt x="9101" y="16144"/>
                  </a:lnTo>
                  <a:lnTo>
                    <a:pt x="9101" y="15753"/>
                  </a:lnTo>
                  <a:lnTo>
                    <a:pt x="9168" y="15362"/>
                  </a:lnTo>
                  <a:lnTo>
                    <a:pt x="9236" y="14971"/>
                  </a:lnTo>
                  <a:lnTo>
                    <a:pt x="9360" y="14580"/>
                  </a:lnTo>
                  <a:lnTo>
                    <a:pt x="9495" y="14244"/>
                  </a:lnTo>
                  <a:lnTo>
                    <a:pt x="9663" y="13891"/>
                  </a:lnTo>
                  <a:lnTo>
                    <a:pt x="9855" y="13611"/>
                  </a:lnTo>
                  <a:lnTo>
                    <a:pt x="10068" y="13351"/>
                  </a:lnTo>
                  <a:lnTo>
                    <a:pt x="10293" y="13146"/>
                  </a:lnTo>
                  <a:lnTo>
                    <a:pt x="10552" y="12997"/>
                  </a:lnTo>
                  <a:lnTo>
                    <a:pt x="10811" y="12885"/>
                  </a:lnTo>
                  <a:lnTo>
                    <a:pt x="11069" y="12866"/>
                  </a:lnTo>
                  <a:lnTo>
                    <a:pt x="11351" y="12885"/>
                  </a:lnTo>
                  <a:lnTo>
                    <a:pt x="11610" y="12997"/>
                  </a:lnTo>
                  <a:lnTo>
                    <a:pt x="11846" y="13183"/>
                  </a:lnTo>
                  <a:lnTo>
                    <a:pt x="12060" y="13388"/>
                  </a:lnTo>
                  <a:lnTo>
                    <a:pt x="12251" y="13648"/>
                  </a:lnTo>
                  <a:lnTo>
                    <a:pt x="12419" y="13928"/>
                  </a:lnTo>
                  <a:lnTo>
                    <a:pt x="12555" y="14244"/>
                  </a:lnTo>
                  <a:lnTo>
                    <a:pt x="12690" y="14617"/>
                  </a:lnTo>
                  <a:lnTo>
                    <a:pt x="12768" y="15008"/>
                  </a:lnTo>
                  <a:lnTo>
                    <a:pt x="12836" y="15399"/>
                  </a:lnTo>
                  <a:lnTo>
                    <a:pt x="12858" y="15753"/>
                  </a:lnTo>
                  <a:lnTo>
                    <a:pt x="12858" y="16144"/>
                  </a:lnTo>
                  <a:lnTo>
                    <a:pt x="12813" y="16535"/>
                  </a:lnTo>
                  <a:lnTo>
                    <a:pt x="12746" y="16888"/>
                  </a:lnTo>
                  <a:lnTo>
                    <a:pt x="12667" y="17224"/>
                  </a:lnTo>
                  <a:lnTo>
                    <a:pt x="12510" y="17503"/>
                  </a:lnTo>
                  <a:lnTo>
                    <a:pt x="12228" y="18043"/>
                  </a:lnTo>
                  <a:lnTo>
                    <a:pt x="11970" y="18546"/>
                  </a:lnTo>
                  <a:lnTo>
                    <a:pt x="11868" y="18751"/>
                  </a:lnTo>
                  <a:lnTo>
                    <a:pt x="11778" y="18974"/>
                  </a:lnTo>
                  <a:lnTo>
                    <a:pt x="11711" y="19179"/>
                  </a:lnTo>
                  <a:lnTo>
                    <a:pt x="11666" y="19365"/>
                  </a:lnTo>
                  <a:lnTo>
                    <a:pt x="11632" y="19570"/>
                  </a:lnTo>
                  <a:lnTo>
                    <a:pt x="11632" y="19756"/>
                  </a:lnTo>
                  <a:lnTo>
                    <a:pt x="11632" y="19942"/>
                  </a:lnTo>
                  <a:lnTo>
                    <a:pt x="11643" y="20110"/>
                  </a:lnTo>
                  <a:lnTo>
                    <a:pt x="11711" y="20296"/>
                  </a:lnTo>
                  <a:lnTo>
                    <a:pt x="11801" y="20464"/>
                  </a:lnTo>
                  <a:lnTo>
                    <a:pt x="11891" y="20650"/>
                  </a:lnTo>
                  <a:lnTo>
                    <a:pt x="12037" y="20836"/>
                  </a:lnTo>
                  <a:lnTo>
                    <a:pt x="12206" y="21004"/>
                  </a:lnTo>
                  <a:lnTo>
                    <a:pt x="12419" y="21190"/>
                  </a:lnTo>
                  <a:lnTo>
                    <a:pt x="12667" y="21320"/>
                  </a:lnTo>
                  <a:lnTo>
                    <a:pt x="12960" y="21432"/>
                  </a:lnTo>
                  <a:lnTo>
                    <a:pt x="13286" y="21544"/>
                  </a:lnTo>
                  <a:lnTo>
                    <a:pt x="13612" y="21655"/>
                  </a:lnTo>
                  <a:lnTo>
                    <a:pt x="13983" y="21693"/>
                  </a:lnTo>
                  <a:lnTo>
                    <a:pt x="14343" y="21730"/>
                  </a:lnTo>
                  <a:lnTo>
                    <a:pt x="14715" y="21730"/>
                  </a:lnTo>
                  <a:lnTo>
                    <a:pt x="15075" y="21730"/>
                  </a:lnTo>
                  <a:lnTo>
                    <a:pt x="15446" y="21655"/>
                  </a:lnTo>
                  <a:lnTo>
                    <a:pt x="15794" y="21581"/>
                  </a:lnTo>
                  <a:lnTo>
                    <a:pt x="16132" y="21432"/>
                  </a:lnTo>
                  <a:lnTo>
                    <a:pt x="16458" y="21302"/>
                  </a:lnTo>
                  <a:lnTo>
                    <a:pt x="16740" y="21078"/>
                  </a:lnTo>
                  <a:lnTo>
                    <a:pt x="16976" y="20836"/>
                  </a:lnTo>
                  <a:lnTo>
                    <a:pt x="17043" y="20650"/>
                  </a:lnTo>
                  <a:lnTo>
                    <a:pt x="17088" y="20426"/>
                  </a:lnTo>
                  <a:lnTo>
                    <a:pt x="17133" y="20222"/>
                  </a:lnTo>
                  <a:lnTo>
                    <a:pt x="17156" y="19980"/>
                  </a:lnTo>
                  <a:lnTo>
                    <a:pt x="17167" y="19477"/>
                  </a:lnTo>
                  <a:lnTo>
                    <a:pt x="17167" y="18974"/>
                  </a:lnTo>
                  <a:lnTo>
                    <a:pt x="17156" y="18397"/>
                  </a:lnTo>
                  <a:lnTo>
                    <a:pt x="17111" y="17820"/>
                  </a:lnTo>
                  <a:lnTo>
                    <a:pt x="17066" y="17261"/>
                  </a:lnTo>
                  <a:lnTo>
                    <a:pt x="16998" y="16646"/>
                  </a:lnTo>
                  <a:lnTo>
                    <a:pt x="16852" y="15511"/>
                  </a:lnTo>
                  <a:lnTo>
                    <a:pt x="16740" y="14393"/>
                  </a:lnTo>
                  <a:lnTo>
                    <a:pt x="16717" y="13928"/>
                  </a:lnTo>
                  <a:lnTo>
                    <a:pt x="16695" y="13462"/>
                  </a:lnTo>
                  <a:lnTo>
                    <a:pt x="16717" y="13071"/>
                  </a:lnTo>
                  <a:lnTo>
                    <a:pt x="16785" y="12755"/>
                  </a:lnTo>
                  <a:lnTo>
                    <a:pt x="16852" y="12419"/>
                  </a:lnTo>
                  <a:lnTo>
                    <a:pt x="16953" y="12140"/>
                  </a:lnTo>
                  <a:lnTo>
                    <a:pt x="17088" y="11898"/>
                  </a:lnTo>
                  <a:lnTo>
                    <a:pt x="17212" y="11675"/>
                  </a:lnTo>
                  <a:lnTo>
                    <a:pt x="17370" y="11470"/>
                  </a:lnTo>
                  <a:lnTo>
                    <a:pt x="17516" y="11284"/>
                  </a:lnTo>
                  <a:lnTo>
                    <a:pt x="17696" y="11135"/>
                  </a:lnTo>
                  <a:lnTo>
                    <a:pt x="17865" y="11042"/>
                  </a:lnTo>
                  <a:lnTo>
                    <a:pt x="18033" y="10930"/>
                  </a:lnTo>
                  <a:lnTo>
                    <a:pt x="18213" y="10893"/>
                  </a:lnTo>
                  <a:lnTo>
                    <a:pt x="18382" y="10893"/>
                  </a:lnTo>
                  <a:lnTo>
                    <a:pt x="18551" y="10967"/>
                  </a:lnTo>
                  <a:lnTo>
                    <a:pt x="18708" y="11042"/>
                  </a:lnTo>
                  <a:lnTo>
                    <a:pt x="18855" y="11172"/>
                  </a:lnTo>
                  <a:lnTo>
                    <a:pt x="19012" y="11358"/>
                  </a:lnTo>
                  <a:lnTo>
                    <a:pt x="19136" y="11600"/>
                  </a:lnTo>
                  <a:lnTo>
                    <a:pt x="19271" y="11861"/>
                  </a:lnTo>
                  <a:lnTo>
                    <a:pt x="19440" y="12028"/>
                  </a:lnTo>
                  <a:lnTo>
                    <a:pt x="19608" y="12177"/>
                  </a:lnTo>
                  <a:lnTo>
                    <a:pt x="19822" y="12289"/>
                  </a:lnTo>
                  <a:lnTo>
                    <a:pt x="20025" y="12289"/>
                  </a:lnTo>
                  <a:lnTo>
                    <a:pt x="20238" y="12289"/>
                  </a:lnTo>
                  <a:lnTo>
                    <a:pt x="20452" y="12215"/>
                  </a:lnTo>
                  <a:lnTo>
                    <a:pt x="20643" y="12103"/>
                  </a:lnTo>
                  <a:lnTo>
                    <a:pt x="20846" y="11973"/>
                  </a:lnTo>
                  <a:lnTo>
                    <a:pt x="21037" y="11786"/>
                  </a:lnTo>
                  <a:lnTo>
                    <a:pt x="21206" y="11563"/>
                  </a:lnTo>
                  <a:lnTo>
                    <a:pt x="21363" y="11321"/>
                  </a:lnTo>
                  <a:lnTo>
                    <a:pt x="21465" y="11079"/>
                  </a:lnTo>
                  <a:lnTo>
                    <a:pt x="21577" y="10744"/>
                  </a:lnTo>
                  <a:lnTo>
                    <a:pt x="21622" y="10427"/>
                  </a:lnTo>
                  <a:lnTo>
                    <a:pt x="21645" y="10111"/>
                  </a:lnTo>
                  <a:lnTo>
                    <a:pt x="21622" y="9608"/>
                  </a:lnTo>
                  <a:lnTo>
                    <a:pt x="21577" y="9142"/>
                  </a:lnTo>
                  <a:lnTo>
                    <a:pt x="21465" y="8751"/>
                  </a:lnTo>
                  <a:lnTo>
                    <a:pt x="21363" y="8397"/>
                  </a:lnTo>
                  <a:lnTo>
                    <a:pt x="21206" y="8062"/>
                  </a:lnTo>
                  <a:lnTo>
                    <a:pt x="21037" y="7820"/>
                  </a:lnTo>
                  <a:lnTo>
                    <a:pt x="20846" y="7597"/>
                  </a:lnTo>
                  <a:lnTo>
                    <a:pt x="20643" y="7429"/>
                  </a:lnTo>
                  <a:lnTo>
                    <a:pt x="20452" y="7317"/>
                  </a:lnTo>
                  <a:lnTo>
                    <a:pt x="20238" y="7206"/>
                  </a:lnTo>
                  <a:lnTo>
                    <a:pt x="20025" y="7168"/>
                  </a:lnTo>
                  <a:lnTo>
                    <a:pt x="19822" y="7206"/>
                  </a:lnTo>
                  <a:lnTo>
                    <a:pt x="19608" y="7243"/>
                  </a:lnTo>
                  <a:lnTo>
                    <a:pt x="19440" y="7355"/>
                  </a:lnTo>
                  <a:lnTo>
                    <a:pt x="19271" y="7504"/>
                  </a:lnTo>
                  <a:lnTo>
                    <a:pt x="19136" y="7708"/>
                  </a:lnTo>
                  <a:lnTo>
                    <a:pt x="19012" y="7895"/>
                  </a:lnTo>
                  <a:lnTo>
                    <a:pt x="18832" y="8025"/>
                  </a:lnTo>
                  <a:lnTo>
                    <a:pt x="18663" y="8174"/>
                  </a:lnTo>
                  <a:lnTo>
                    <a:pt x="18472" y="8248"/>
                  </a:lnTo>
                  <a:lnTo>
                    <a:pt x="18270" y="8286"/>
                  </a:lnTo>
                  <a:lnTo>
                    <a:pt x="18078" y="8323"/>
                  </a:lnTo>
                  <a:lnTo>
                    <a:pt x="17887" y="8323"/>
                  </a:lnTo>
                  <a:lnTo>
                    <a:pt x="17696" y="8248"/>
                  </a:lnTo>
                  <a:lnTo>
                    <a:pt x="17493" y="8174"/>
                  </a:lnTo>
                  <a:lnTo>
                    <a:pt x="17302" y="8062"/>
                  </a:lnTo>
                  <a:lnTo>
                    <a:pt x="17133" y="7969"/>
                  </a:lnTo>
                  <a:lnTo>
                    <a:pt x="16976" y="7783"/>
                  </a:lnTo>
                  <a:lnTo>
                    <a:pt x="16852" y="7597"/>
                  </a:lnTo>
                  <a:lnTo>
                    <a:pt x="16740" y="7429"/>
                  </a:lnTo>
                  <a:lnTo>
                    <a:pt x="16672" y="7168"/>
                  </a:lnTo>
                  <a:lnTo>
                    <a:pt x="16638" y="6926"/>
                  </a:lnTo>
                  <a:lnTo>
                    <a:pt x="16616" y="6498"/>
                  </a:lnTo>
                  <a:lnTo>
                    <a:pt x="16616" y="5772"/>
                  </a:lnTo>
                  <a:lnTo>
                    <a:pt x="16650" y="4915"/>
                  </a:lnTo>
                  <a:lnTo>
                    <a:pt x="16695" y="3928"/>
                  </a:lnTo>
                  <a:lnTo>
                    <a:pt x="16762" y="2960"/>
                  </a:lnTo>
                  <a:lnTo>
                    <a:pt x="16830" y="1992"/>
                  </a:lnTo>
                  <a:lnTo>
                    <a:pt x="16908" y="1173"/>
                  </a:lnTo>
                  <a:lnTo>
                    <a:pt x="16976" y="521"/>
                  </a:lnTo>
                  <a:lnTo>
                    <a:pt x="16953" y="521"/>
                  </a:lnTo>
                  <a:lnTo>
                    <a:pt x="16931" y="521"/>
                  </a:lnTo>
                  <a:lnTo>
                    <a:pt x="16267" y="484"/>
                  </a:lnTo>
                  <a:lnTo>
                    <a:pt x="15637" y="428"/>
                  </a:lnTo>
                  <a:lnTo>
                    <a:pt x="15063" y="353"/>
                  </a:lnTo>
                  <a:lnTo>
                    <a:pt x="14523" y="279"/>
                  </a:lnTo>
                  <a:lnTo>
                    <a:pt x="14040" y="167"/>
                  </a:lnTo>
                  <a:lnTo>
                    <a:pt x="13635" y="93"/>
                  </a:lnTo>
                  <a:lnTo>
                    <a:pt x="13331" y="18"/>
                  </a:lnTo>
                  <a:lnTo>
                    <a:pt x="13117" y="18"/>
                  </a:lnTo>
                  <a:lnTo>
                    <a:pt x="12982" y="18"/>
                  </a:lnTo>
                  <a:lnTo>
                    <a:pt x="12858" y="130"/>
                  </a:lnTo>
                  <a:lnTo>
                    <a:pt x="12723" y="279"/>
                  </a:lnTo>
                  <a:lnTo>
                    <a:pt x="12622" y="446"/>
                  </a:lnTo>
                  <a:lnTo>
                    <a:pt x="12510" y="670"/>
                  </a:lnTo>
                  <a:lnTo>
                    <a:pt x="12419" y="912"/>
                  </a:lnTo>
                  <a:lnTo>
                    <a:pt x="12363" y="1210"/>
                  </a:lnTo>
                  <a:lnTo>
                    <a:pt x="12318" y="1526"/>
                  </a:lnTo>
                  <a:lnTo>
                    <a:pt x="12273" y="1843"/>
                  </a:lnTo>
                  <a:lnTo>
                    <a:pt x="12251" y="2215"/>
                  </a:lnTo>
                  <a:lnTo>
                    <a:pt x="12273" y="2532"/>
                  </a:lnTo>
                  <a:lnTo>
                    <a:pt x="12318" y="2886"/>
                  </a:lnTo>
                  <a:lnTo>
                    <a:pt x="12386" y="3240"/>
                  </a:lnTo>
                  <a:lnTo>
                    <a:pt x="12464" y="3556"/>
                  </a:lnTo>
                  <a:lnTo>
                    <a:pt x="12577" y="3891"/>
                  </a:lnTo>
                  <a:lnTo>
                    <a:pt x="12746" y="4171"/>
                  </a:lnTo>
                  <a:lnTo>
                    <a:pt x="12926" y="4487"/>
                  </a:lnTo>
                  <a:lnTo>
                    <a:pt x="13050" y="4860"/>
                  </a:lnTo>
                  <a:lnTo>
                    <a:pt x="13162" y="5251"/>
                  </a:lnTo>
                  <a:lnTo>
                    <a:pt x="13218" y="5604"/>
                  </a:lnTo>
                  <a:lnTo>
                    <a:pt x="13263" y="5995"/>
                  </a:lnTo>
                  <a:lnTo>
                    <a:pt x="13241" y="6386"/>
                  </a:lnTo>
                  <a:lnTo>
                    <a:pt x="13218" y="6740"/>
                  </a:lnTo>
                  <a:lnTo>
                    <a:pt x="13139" y="7094"/>
                  </a:lnTo>
                  <a:lnTo>
                    <a:pt x="13050" y="7429"/>
                  </a:lnTo>
                  <a:lnTo>
                    <a:pt x="12903" y="7746"/>
                  </a:lnTo>
                  <a:lnTo>
                    <a:pt x="12723" y="8025"/>
                  </a:lnTo>
                  <a:lnTo>
                    <a:pt x="12532" y="8286"/>
                  </a:lnTo>
                  <a:lnTo>
                    <a:pt x="12318" y="8491"/>
                  </a:lnTo>
                  <a:lnTo>
                    <a:pt x="12060" y="8677"/>
                  </a:lnTo>
                  <a:lnTo>
                    <a:pt x="11756" y="8788"/>
                  </a:lnTo>
                  <a:lnTo>
                    <a:pt x="11452" y="8826"/>
                  </a:lnTo>
                  <a:lnTo>
                    <a:pt x="11283" y="8826"/>
                  </a:lnTo>
                  <a:lnTo>
                    <a:pt x="11126" y="8826"/>
                  </a:lnTo>
                  <a:lnTo>
                    <a:pt x="11002" y="8788"/>
                  </a:lnTo>
                  <a:lnTo>
                    <a:pt x="10845" y="8714"/>
                  </a:lnTo>
                  <a:lnTo>
                    <a:pt x="10721" y="8640"/>
                  </a:lnTo>
                  <a:lnTo>
                    <a:pt x="10608" y="8565"/>
                  </a:lnTo>
                  <a:lnTo>
                    <a:pt x="10485" y="8453"/>
                  </a:lnTo>
                  <a:lnTo>
                    <a:pt x="10372" y="8323"/>
                  </a:lnTo>
                  <a:lnTo>
                    <a:pt x="10181" y="8062"/>
                  </a:lnTo>
                  <a:lnTo>
                    <a:pt x="10035" y="7746"/>
                  </a:lnTo>
                  <a:lnTo>
                    <a:pt x="9900" y="7392"/>
                  </a:lnTo>
                  <a:lnTo>
                    <a:pt x="9787" y="7001"/>
                  </a:lnTo>
                  <a:lnTo>
                    <a:pt x="9731" y="6610"/>
                  </a:lnTo>
                  <a:lnTo>
                    <a:pt x="9686" y="6219"/>
                  </a:lnTo>
                  <a:lnTo>
                    <a:pt x="9663" y="5772"/>
                  </a:lnTo>
                  <a:lnTo>
                    <a:pt x="9686" y="5381"/>
                  </a:lnTo>
                  <a:lnTo>
                    <a:pt x="9753" y="4990"/>
                  </a:lnTo>
                  <a:lnTo>
                    <a:pt x="9832" y="4636"/>
                  </a:lnTo>
                  <a:lnTo>
                    <a:pt x="9945" y="4320"/>
                  </a:lnTo>
                  <a:lnTo>
                    <a:pt x="10068" y="4022"/>
                  </a:lnTo>
                  <a:lnTo>
                    <a:pt x="10203" y="3817"/>
                  </a:lnTo>
                  <a:lnTo>
                    <a:pt x="10316" y="3593"/>
                  </a:lnTo>
                  <a:lnTo>
                    <a:pt x="10395" y="3351"/>
                  </a:lnTo>
                  <a:lnTo>
                    <a:pt x="10462" y="3109"/>
                  </a:lnTo>
                  <a:lnTo>
                    <a:pt x="10507" y="2848"/>
                  </a:lnTo>
                  <a:lnTo>
                    <a:pt x="10530" y="2606"/>
                  </a:lnTo>
                  <a:lnTo>
                    <a:pt x="10507" y="2346"/>
                  </a:lnTo>
                  <a:lnTo>
                    <a:pt x="10462" y="2141"/>
                  </a:lnTo>
                  <a:lnTo>
                    <a:pt x="10395" y="1880"/>
                  </a:lnTo>
                  <a:lnTo>
                    <a:pt x="10293" y="1638"/>
                  </a:lnTo>
                  <a:lnTo>
                    <a:pt x="10158" y="1415"/>
                  </a:lnTo>
                  <a:lnTo>
                    <a:pt x="9967" y="1210"/>
                  </a:lnTo>
                  <a:lnTo>
                    <a:pt x="9753" y="986"/>
                  </a:lnTo>
                  <a:lnTo>
                    <a:pt x="9495" y="819"/>
                  </a:lnTo>
                  <a:lnTo>
                    <a:pt x="9191" y="670"/>
                  </a:lnTo>
                  <a:lnTo>
                    <a:pt x="8842" y="521"/>
                  </a:lnTo>
                  <a:lnTo>
                    <a:pt x="8471" y="446"/>
                  </a:lnTo>
                  <a:lnTo>
                    <a:pt x="7998" y="428"/>
                  </a:lnTo>
                  <a:lnTo>
                    <a:pt x="7413" y="428"/>
                  </a:lnTo>
                  <a:lnTo>
                    <a:pt x="6817" y="446"/>
                  </a:lnTo>
                  <a:lnTo>
                    <a:pt x="6187" y="521"/>
                  </a:lnTo>
                  <a:lnTo>
                    <a:pt x="5602" y="633"/>
                  </a:lnTo>
                  <a:lnTo>
                    <a:pt x="5107" y="744"/>
                  </a:lnTo>
                  <a:lnTo>
                    <a:pt x="4725" y="856"/>
                  </a:lnTo>
                  <a:lnTo>
                    <a:pt x="4848" y="1564"/>
                  </a:lnTo>
                  <a:lnTo>
                    <a:pt x="5028" y="2495"/>
                  </a:lnTo>
                  <a:lnTo>
                    <a:pt x="5175" y="3556"/>
                  </a:lnTo>
                  <a:lnTo>
                    <a:pt x="5298" y="4673"/>
                  </a:lnTo>
                  <a:lnTo>
                    <a:pt x="5343" y="5213"/>
                  </a:lnTo>
                  <a:lnTo>
                    <a:pt x="5388" y="5753"/>
                  </a:lnTo>
                  <a:lnTo>
                    <a:pt x="5411" y="6275"/>
                  </a:lnTo>
                  <a:lnTo>
                    <a:pt x="5411" y="6740"/>
                  </a:lnTo>
                  <a:lnTo>
                    <a:pt x="5366" y="7168"/>
                  </a:lnTo>
                  <a:lnTo>
                    <a:pt x="5321" y="7541"/>
                  </a:lnTo>
                  <a:lnTo>
                    <a:pt x="5287" y="7708"/>
                  </a:lnTo>
                  <a:lnTo>
                    <a:pt x="5242" y="7857"/>
                  </a:lnTo>
                  <a:lnTo>
                    <a:pt x="5197" y="7969"/>
                  </a:lnTo>
                  <a:lnTo>
                    <a:pt x="5130" y="8062"/>
                  </a:lnTo>
                  <a:lnTo>
                    <a:pt x="5006" y="8248"/>
                  </a:lnTo>
                  <a:lnTo>
                    <a:pt x="4848" y="8397"/>
                  </a:lnTo>
                  <a:lnTo>
                    <a:pt x="4725" y="8528"/>
                  </a:lnTo>
                  <a:lnTo>
                    <a:pt x="4567" y="8640"/>
                  </a:lnTo>
                  <a:lnTo>
                    <a:pt x="4421" y="8714"/>
                  </a:lnTo>
                  <a:lnTo>
                    <a:pt x="4263" y="8751"/>
                  </a:lnTo>
                  <a:lnTo>
                    <a:pt x="4095" y="8788"/>
                  </a:lnTo>
                  <a:lnTo>
                    <a:pt x="3948" y="8788"/>
                  </a:lnTo>
                  <a:lnTo>
                    <a:pt x="3791" y="8751"/>
                  </a:lnTo>
                  <a:lnTo>
                    <a:pt x="3667" y="8714"/>
                  </a:lnTo>
                  <a:lnTo>
                    <a:pt x="3510" y="8677"/>
                  </a:lnTo>
                  <a:lnTo>
                    <a:pt x="3386" y="8602"/>
                  </a:lnTo>
                  <a:lnTo>
                    <a:pt x="3251" y="8491"/>
                  </a:lnTo>
                  <a:lnTo>
                    <a:pt x="3127" y="8360"/>
                  </a:lnTo>
                  <a:lnTo>
                    <a:pt x="3015" y="8248"/>
                  </a:lnTo>
                  <a:lnTo>
                    <a:pt x="2925" y="8062"/>
                  </a:lnTo>
                  <a:lnTo>
                    <a:pt x="2778" y="7857"/>
                  </a:lnTo>
                  <a:lnTo>
                    <a:pt x="2610" y="7671"/>
                  </a:lnTo>
                  <a:lnTo>
                    <a:pt x="2407" y="7541"/>
                  </a:lnTo>
                  <a:lnTo>
                    <a:pt x="2171" y="7466"/>
                  </a:lnTo>
                  <a:lnTo>
                    <a:pt x="1957" y="7429"/>
                  </a:lnTo>
                  <a:lnTo>
                    <a:pt x="1698" y="7429"/>
                  </a:lnTo>
                  <a:lnTo>
                    <a:pt x="1462" y="7466"/>
                  </a:lnTo>
                  <a:lnTo>
                    <a:pt x="1226" y="7559"/>
                  </a:lnTo>
                  <a:lnTo>
                    <a:pt x="989" y="7708"/>
                  </a:lnTo>
                  <a:lnTo>
                    <a:pt x="776" y="7932"/>
                  </a:lnTo>
                  <a:lnTo>
                    <a:pt x="551" y="8211"/>
                  </a:lnTo>
                  <a:lnTo>
                    <a:pt x="382" y="8528"/>
                  </a:lnTo>
                  <a:lnTo>
                    <a:pt x="315" y="8714"/>
                  </a:lnTo>
                  <a:lnTo>
                    <a:pt x="236" y="8919"/>
                  </a:lnTo>
                  <a:lnTo>
                    <a:pt x="191" y="9142"/>
                  </a:lnTo>
                  <a:lnTo>
                    <a:pt x="123" y="9347"/>
                  </a:lnTo>
                  <a:lnTo>
                    <a:pt x="78" y="9608"/>
                  </a:lnTo>
                  <a:lnTo>
                    <a:pt x="56" y="9887"/>
                  </a:lnTo>
                  <a:lnTo>
                    <a:pt x="33" y="10185"/>
                  </a:lnTo>
                  <a:lnTo>
                    <a:pt x="33" y="10464"/>
                  </a:lnTo>
                  <a:lnTo>
                    <a:pt x="33" y="10706"/>
                  </a:lnTo>
                  <a:lnTo>
                    <a:pt x="56" y="10967"/>
                  </a:lnTo>
                  <a:lnTo>
                    <a:pt x="78" y="11172"/>
                  </a:lnTo>
                  <a:lnTo>
                    <a:pt x="123" y="11395"/>
                  </a:lnTo>
                  <a:lnTo>
                    <a:pt x="168" y="11600"/>
                  </a:lnTo>
                  <a:lnTo>
                    <a:pt x="236" y="11786"/>
                  </a:lnTo>
                  <a:lnTo>
                    <a:pt x="292" y="11973"/>
                  </a:lnTo>
                  <a:lnTo>
                    <a:pt x="382" y="12140"/>
                  </a:lnTo>
                  <a:lnTo>
                    <a:pt x="540" y="12419"/>
                  </a:lnTo>
                  <a:lnTo>
                    <a:pt x="731" y="12680"/>
                  </a:lnTo>
                  <a:lnTo>
                    <a:pt x="944" y="12866"/>
                  </a:lnTo>
                  <a:lnTo>
                    <a:pt x="1158" y="12997"/>
                  </a:lnTo>
                  <a:lnTo>
                    <a:pt x="1395" y="13108"/>
                  </a:lnTo>
                  <a:lnTo>
                    <a:pt x="1608" y="13183"/>
                  </a:lnTo>
                  <a:lnTo>
                    <a:pt x="1856" y="13183"/>
                  </a:lnTo>
                  <a:lnTo>
                    <a:pt x="2070" y="13146"/>
                  </a:lnTo>
                  <a:lnTo>
                    <a:pt x="2261" y="13071"/>
                  </a:lnTo>
                  <a:lnTo>
                    <a:pt x="2430" y="12960"/>
                  </a:lnTo>
                  <a:lnTo>
                    <a:pt x="2587" y="12792"/>
                  </a:lnTo>
                  <a:lnTo>
                    <a:pt x="2688" y="12606"/>
                  </a:lnTo>
                  <a:lnTo>
                    <a:pt x="2801" y="12419"/>
                  </a:lnTo>
                  <a:lnTo>
                    <a:pt x="2925" y="12289"/>
                  </a:lnTo>
                  <a:lnTo>
                    <a:pt x="3082" y="12177"/>
                  </a:lnTo>
                  <a:lnTo>
                    <a:pt x="3228" y="12103"/>
                  </a:lnTo>
                  <a:lnTo>
                    <a:pt x="3408" y="12103"/>
                  </a:lnTo>
                  <a:lnTo>
                    <a:pt x="3577" y="12103"/>
                  </a:lnTo>
                  <a:lnTo>
                    <a:pt x="3723" y="12177"/>
                  </a:lnTo>
                  <a:lnTo>
                    <a:pt x="3903" y="12252"/>
                  </a:lnTo>
                  <a:lnTo>
                    <a:pt x="4072" y="12364"/>
                  </a:lnTo>
                  <a:lnTo>
                    <a:pt x="4230" y="12494"/>
                  </a:lnTo>
                  <a:lnTo>
                    <a:pt x="4353" y="12643"/>
                  </a:lnTo>
                  <a:lnTo>
                    <a:pt x="4488" y="12829"/>
                  </a:lnTo>
                  <a:lnTo>
                    <a:pt x="4567" y="13034"/>
                  </a:lnTo>
                  <a:lnTo>
                    <a:pt x="4657" y="13257"/>
                  </a:lnTo>
                  <a:lnTo>
                    <a:pt x="4702" y="13462"/>
                  </a:lnTo>
                  <a:lnTo>
                    <a:pt x="4725" y="13686"/>
                  </a:lnTo>
                  <a:lnTo>
                    <a:pt x="4702" y="14282"/>
                  </a:lnTo>
                  <a:lnTo>
                    <a:pt x="4657" y="15045"/>
                  </a:lnTo>
                  <a:lnTo>
                    <a:pt x="4612" y="15976"/>
                  </a:lnTo>
                  <a:lnTo>
                    <a:pt x="4590" y="16926"/>
                  </a:lnTo>
                  <a:lnTo>
                    <a:pt x="4567" y="17968"/>
                  </a:lnTo>
                  <a:lnTo>
                    <a:pt x="4567" y="19011"/>
                  </a:lnTo>
                  <a:lnTo>
                    <a:pt x="4590" y="19514"/>
                  </a:lnTo>
                  <a:lnTo>
                    <a:pt x="4612" y="19980"/>
                  </a:lnTo>
                  <a:lnTo>
                    <a:pt x="4657" y="20426"/>
                  </a:lnTo>
                  <a:lnTo>
                    <a:pt x="4725" y="20836"/>
                  </a:lnTo>
                  <a:lnTo>
                    <a:pt x="4848" y="20929"/>
                  </a:lnTo>
                  <a:lnTo>
                    <a:pt x="5040" y="21004"/>
                  </a:lnTo>
                  <a:lnTo>
                    <a:pt x="5265" y="21078"/>
                  </a:lnTo>
                  <a:lnTo>
                    <a:pt x="5478" y="21115"/>
                  </a:lnTo>
                  <a:lnTo>
                    <a:pt x="6041" y="21115"/>
                  </a:lnTo>
                  <a:lnTo>
                    <a:pt x="6637" y="21078"/>
                  </a:lnTo>
                  <a:lnTo>
                    <a:pt x="7312" y="21004"/>
                  </a:lnTo>
                  <a:lnTo>
                    <a:pt x="7998" y="20929"/>
                  </a:lnTo>
                  <a:lnTo>
                    <a:pt x="8696" y="20855"/>
                  </a:lnTo>
                  <a:lnTo>
                    <a:pt x="9360" y="20836"/>
                  </a:lnTo>
                  <a:close/>
                </a:path>
              </a:pathLst>
            </a:custGeom>
            <a:solidFill>
              <a:srgbClr val="CCCCFF"/>
            </a:solidFill>
            <a:ln w="28575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7691455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C352F7-45B8-4FBD-B03D-E1C2770863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730" y="195112"/>
            <a:ext cx="5882410" cy="1143000"/>
          </a:xfrm>
        </p:spPr>
        <p:txBody>
          <a:bodyPr>
            <a:normAutofit/>
          </a:bodyPr>
          <a:lstStyle/>
          <a:p>
            <a:r>
              <a:rPr lang="en-GB" sz="2400" b="1" dirty="0"/>
              <a:t>Whole system approach to formulation based care planning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BA9358A0-55CF-47B4-BE8B-A85FD14173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785" y="1379460"/>
            <a:ext cx="8447963" cy="46200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EEECE1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481205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23881" y="246508"/>
            <a:ext cx="8458199" cy="667725"/>
          </a:xfrm>
        </p:spPr>
        <p:txBody>
          <a:bodyPr>
            <a:normAutofit fontScale="90000"/>
          </a:bodyPr>
          <a:lstStyle/>
          <a:p>
            <a:r>
              <a:rPr lang="en-GB" sz="2400" b="1" dirty="0"/>
              <a:t>What will the Framework for Integrated</a:t>
            </a:r>
            <a:br>
              <a:rPr lang="en-GB" sz="2400" b="1" dirty="0"/>
            </a:br>
            <a:r>
              <a:rPr lang="en-GB" sz="2400" b="1" dirty="0"/>
              <a:t>Care look like?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2C86DB1-305F-4823-AC68-1E290AA742A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457202" y="1135324"/>
            <a:ext cx="8229599" cy="4608512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lvl="0" indent="0">
              <a:buNone/>
            </a:pPr>
            <a:r>
              <a:rPr lang="en-GB" sz="2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Framework (not a model)</a:t>
            </a:r>
            <a:endParaRPr lang="en-GB" sz="20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0" indent="0" algn="just">
              <a:buNone/>
            </a:pPr>
            <a:r>
              <a:rPr lang="en-GB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local implementation plan in each site, based on the differing needs of the population and the nature and scale of the environment </a:t>
            </a:r>
            <a:r>
              <a:rPr lang="en-GB" sz="2000" b="1" u="sng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t</a:t>
            </a:r>
            <a:r>
              <a:rPr lang="en-GB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ased on universal principles;</a:t>
            </a:r>
          </a:p>
          <a:p>
            <a:pPr marL="0" lvl="0" indent="0" algn="just">
              <a:spcBef>
                <a:spcPts val="0"/>
              </a:spcBef>
              <a:buNone/>
            </a:pPr>
            <a:endParaRPr lang="en-GB" sz="2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en-GB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system-wide approach across the whole site.</a:t>
            </a:r>
          </a:p>
          <a:p>
            <a:pPr lvl="0"/>
            <a:r>
              <a:rPr lang="en-GB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es in place to  promote resilience through the system (training, support, supervision, reflective practice).</a:t>
            </a:r>
          </a:p>
          <a:p>
            <a:pPr lvl="0"/>
            <a:r>
              <a:rPr lang="en-GB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hasis on importance of primary care givers.</a:t>
            </a:r>
          </a:p>
          <a:p>
            <a:pPr lvl="0"/>
            <a:r>
              <a:rPr lang="en-GB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ltidisciplinary working (including MDT Formulation meetings) on each unit or residential area.</a:t>
            </a:r>
          </a:p>
          <a:p>
            <a:pPr lvl="0"/>
            <a:r>
              <a:rPr lang="en-GB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bedded mental health provision on each unit.</a:t>
            </a:r>
          </a:p>
          <a:p>
            <a:pPr lvl="0"/>
            <a:r>
              <a:rPr lang="en-GB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bust internal and external communication processes including a shared recording process used by all professionals</a:t>
            </a:r>
          </a:p>
          <a:p>
            <a:pPr marL="0" indent="0">
              <a:buNone/>
            </a:pP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6957651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23881" y="246508"/>
            <a:ext cx="8458199" cy="667725"/>
          </a:xfrm>
        </p:spPr>
        <p:txBody>
          <a:bodyPr>
            <a:normAutofit fontScale="90000"/>
          </a:bodyPr>
          <a:lstStyle/>
          <a:p>
            <a:r>
              <a:rPr lang="en-GB" sz="2400" b="1" dirty="0"/>
              <a:t>What will the Framework for Integrated</a:t>
            </a:r>
            <a:br>
              <a:rPr lang="en-GB" sz="2400" b="1" dirty="0"/>
            </a:br>
            <a:r>
              <a:rPr lang="en-GB" sz="2400" b="1" dirty="0"/>
              <a:t>Care look like?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2C86DB1-305F-4823-AC68-1E290AA742A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218364" y="964374"/>
            <a:ext cx="8802806" cy="6132742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lvl="0" indent="0" algn="just">
              <a:buNone/>
            </a:pPr>
            <a:r>
              <a:rPr lang="en-GB" sz="18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go on a unit/ residential area:</a:t>
            </a:r>
          </a:p>
          <a:p>
            <a:pPr lvl="0">
              <a:lnSpc>
                <a:spcPct val="100000"/>
              </a:lnSpc>
              <a:spcAft>
                <a:spcPts val="600"/>
              </a:spcAft>
            </a:pPr>
            <a:r>
              <a:rPr lang="en-GB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istency of staff in unit based multi-disciplinary Support Teams with core membership from: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GB" sz="14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dial Manager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GB" sz="140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P</a:t>
            </a:r>
            <a:r>
              <a:rPr lang="en-GB" sz="14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ficer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GB" sz="14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eworker/ Resettlement Practitioner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GB" sz="14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ucation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GB" sz="14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tal Health Practitioner</a:t>
            </a:r>
          </a:p>
          <a:p>
            <a:pPr lvl="1">
              <a:lnSpc>
                <a:spcPct val="100000"/>
              </a:lnSpc>
              <a:spcBef>
                <a:spcPts val="0"/>
              </a:spcBef>
            </a:pPr>
            <a:r>
              <a:rPr lang="en-GB" sz="14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ensic Psychology</a:t>
            </a:r>
          </a:p>
          <a:p>
            <a:pPr>
              <a:lnSpc>
                <a:spcPct val="100000"/>
              </a:lnSpc>
            </a:pPr>
            <a:r>
              <a:rPr lang="en-GB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Support Team will be frequently visible and available on the unit (informal as well as a formal resource/ support) and staff and young people will know who “their” mental health and education link workers are.</a:t>
            </a:r>
          </a:p>
          <a:p>
            <a:pPr lvl="0">
              <a:lnSpc>
                <a:spcPct val="100000"/>
              </a:lnSpc>
              <a:spcAft>
                <a:spcPts val="600"/>
              </a:spcAft>
            </a:pPr>
            <a:r>
              <a:rPr lang="en-GB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ff will feel:</a:t>
            </a:r>
          </a:p>
          <a:p>
            <a:pPr marL="742950" lvl="1" indent="-342900">
              <a:lnSpc>
                <a:spcPct val="100000"/>
              </a:lnSpc>
              <a:spcBef>
                <a:spcPts val="0"/>
              </a:spcBef>
            </a:pPr>
            <a:r>
              <a:rPr lang="en-GB" sz="14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owered </a:t>
            </a:r>
            <a:r>
              <a:rPr lang="en-GB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involved in the formulation based care planning process</a:t>
            </a:r>
          </a:p>
          <a:p>
            <a:pPr marL="742950" lvl="1" indent="-342900">
              <a:lnSpc>
                <a:spcPct val="100000"/>
              </a:lnSpc>
              <a:spcBef>
                <a:spcPts val="0"/>
              </a:spcBef>
            </a:pPr>
            <a:r>
              <a:rPr lang="en-GB" sz="14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orted</a:t>
            </a:r>
            <a:r>
              <a:rPr lang="en-GB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both formally and informally</a:t>
            </a:r>
          </a:p>
          <a:p>
            <a:pPr marL="742950" lvl="1" indent="-342900">
              <a:lnSpc>
                <a:spcPct val="100000"/>
              </a:lnSpc>
              <a:spcBef>
                <a:spcPts val="0"/>
              </a:spcBef>
            </a:pPr>
            <a:r>
              <a:rPr lang="en-GB" sz="14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ed</a:t>
            </a:r>
            <a:r>
              <a:rPr lang="en-GB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understand what they are doing and why.</a:t>
            </a:r>
          </a:p>
          <a:p>
            <a:pPr lvl="0">
              <a:lnSpc>
                <a:spcPct val="100000"/>
              </a:lnSpc>
              <a:spcAft>
                <a:spcPts val="1000"/>
              </a:spcAft>
            </a:pPr>
            <a:r>
              <a:rPr lang="en-GB" sz="1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ng people will feel involved in a co-ordinated care planning process that includes broader life goals (not just sentence/welfare requirements).</a:t>
            </a:r>
          </a:p>
          <a:p>
            <a:pPr marL="0" indent="0">
              <a:buNone/>
            </a:pP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17572043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yc_RQCRKGRyA0RCKfEw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yc_RQCRKGRyA0RCKfE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HS_England_Nov15">
  <a:themeElements>
    <a:clrScheme name="NHS England 2014 v2">
      <a:dk1>
        <a:srgbClr val="000000"/>
      </a:dk1>
      <a:lt1>
        <a:srgbClr val="FFFFFF"/>
      </a:lt1>
      <a:dk2>
        <a:srgbClr val="0072C6"/>
      </a:dk2>
      <a:lt2>
        <a:srgbClr val="808080"/>
      </a:lt2>
      <a:accent1>
        <a:srgbClr val="E2E2E2"/>
      </a:accent1>
      <a:accent2>
        <a:srgbClr val="C5DCDF"/>
      </a:accent2>
      <a:accent3>
        <a:srgbClr val="FFFFFF"/>
      </a:accent3>
      <a:accent4>
        <a:srgbClr val="0072C6"/>
      </a:accent4>
      <a:accent5>
        <a:srgbClr val="003893"/>
      </a:accent5>
      <a:accent6>
        <a:srgbClr val="B2C7CA"/>
      </a:accent6>
      <a:hlink>
        <a:srgbClr val="0072C6"/>
      </a:hlink>
      <a:folHlink>
        <a:srgbClr val="9CBDC8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  <a:noAutofit/>
      </a:bodyPr>
      <a:lstStyle>
        <a:defPPr marL="0" marR="0" indent="0" algn="ctr" defTabSz="889000" rtl="0" eaLnBrk="1" fontAlgn="base" latinLnBrk="0" hangingPunct="1">
          <a:defRPr kumimoji="0" sz="1400" b="0" i="0" u="none" strike="noStrike" cap="none" normalizeH="0" baseline="0" dirty="0" err="1" smtClean="0">
            <a:solidFill>
              <a:schemeClr val="tx1"/>
            </a:solidFill>
            <a:effectLst/>
            <a:latin typeface="+mn-lt"/>
            <a:cs typeface="+mn-cs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no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>
    <a:extraClrScheme>
      <a:clrScheme name="Letter 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3">
        <a:dk1>
          <a:srgbClr val="000000"/>
        </a:dk1>
        <a:lt1>
          <a:srgbClr val="FFFFFF"/>
        </a:lt1>
        <a:dk2>
          <a:srgbClr val="345782"/>
        </a:dk2>
        <a:lt2>
          <a:srgbClr val="808080"/>
        </a:lt2>
        <a:accent1>
          <a:srgbClr val="E2E2E2"/>
        </a:accent1>
        <a:accent2>
          <a:srgbClr val="C5DCD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2C7CA"/>
        </a:accent6>
        <a:hlink>
          <a:srgbClr val="5D8BA7"/>
        </a:hlink>
        <a:folHlink>
          <a:srgbClr val="9CBD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NHS_England_Nov15">
  <a:themeElements>
    <a:clrScheme name="NHS England 2014 v2">
      <a:dk1>
        <a:srgbClr val="000000"/>
      </a:dk1>
      <a:lt1>
        <a:srgbClr val="FFFFFF"/>
      </a:lt1>
      <a:dk2>
        <a:srgbClr val="0072C6"/>
      </a:dk2>
      <a:lt2>
        <a:srgbClr val="808080"/>
      </a:lt2>
      <a:accent1>
        <a:srgbClr val="E2E2E2"/>
      </a:accent1>
      <a:accent2>
        <a:srgbClr val="C5DCDF"/>
      </a:accent2>
      <a:accent3>
        <a:srgbClr val="FFFFFF"/>
      </a:accent3>
      <a:accent4>
        <a:srgbClr val="0072C6"/>
      </a:accent4>
      <a:accent5>
        <a:srgbClr val="003893"/>
      </a:accent5>
      <a:accent6>
        <a:srgbClr val="B2C7CA"/>
      </a:accent6>
      <a:hlink>
        <a:srgbClr val="0072C6"/>
      </a:hlink>
      <a:folHlink>
        <a:srgbClr val="9CBDC8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  <a:noAutofit/>
      </a:bodyPr>
      <a:lstStyle>
        <a:defPPr marL="0" marR="0" indent="0" algn="ctr" defTabSz="889000" rtl="0" eaLnBrk="1" fontAlgn="base" latinLnBrk="0" hangingPunct="1">
          <a:defRPr kumimoji="0" sz="1400" b="0" i="0" u="none" strike="noStrike" cap="none" normalizeH="0" baseline="0" dirty="0" err="1" smtClean="0">
            <a:solidFill>
              <a:schemeClr val="tx1"/>
            </a:solidFill>
            <a:effectLst/>
            <a:latin typeface="+mn-lt"/>
            <a:cs typeface="+mn-cs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no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>
    <a:extraClrScheme>
      <a:clrScheme name="Letter 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3">
        <a:dk1>
          <a:srgbClr val="000000"/>
        </a:dk1>
        <a:lt1>
          <a:srgbClr val="FFFFFF"/>
        </a:lt1>
        <a:dk2>
          <a:srgbClr val="345782"/>
        </a:dk2>
        <a:lt2>
          <a:srgbClr val="808080"/>
        </a:lt2>
        <a:accent1>
          <a:srgbClr val="E2E2E2"/>
        </a:accent1>
        <a:accent2>
          <a:srgbClr val="C5DCD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2C7CA"/>
        </a:accent6>
        <a:hlink>
          <a:srgbClr val="5D8BA7"/>
        </a:hlink>
        <a:folHlink>
          <a:srgbClr val="9CBD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6_Office Theme">
  <a:themeElements>
    <a:clrScheme name="NHS Improvement">
      <a:dk1>
        <a:srgbClr val="000000"/>
      </a:dk1>
      <a:lt1>
        <a:srgbClr val="FFFFFF"/>
      </a:lt1>
      <a:dk2>
        <a:srgbClr val="003087"/>
      </a:dk2>
      <a:lt2>
        <a:srgbClr val="005EB8"/>
      </a:lt2>
      <a:accent1>
        <a:srgbClr val="005EB8"/>
      </a:accent1>
      <a:accent2>
        <a:srgbClr val="41B6E6"/>
      </a:accent2>
      <a:accent3>
        <a:srgbClr val="768692"/>
      </a:accent3>
      <a:accent4>
        <a:srgbClr val="00A499"/>
      </a:accent4>
      <a:accent5>
        <a:srgbClr val="006747"/>
      </a:accent5>
      <a:accent6>
        <a:srgbClr val="00A9CE"/>
      </a:accent6>
      <a:hlink>
        <a:srgbClr val="0072CE"/>
      </a:hlink>
      <a:folHlink>
        <a:srgbClr val="41B6E6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4A07F297CB714AA444711BE03C57E6" ma:contentTypeVersion="9" ma:contentTypeDescription="Create a new document." ma:contentTypeScope="" ma:versionID="8169ffbeba509925200f3a3d0b494290">
  <xsd:schema xmlns:xsd="http://www.w3.org/2001/XMLSchema" xmlns:xs="http://www.w3.org/2001/XMLSchema" xmlns:p="http://schemas.microsoft.com/office/2006/metadata/properties" xmlns:ns2="f90e7bc6-a3db-487f-b513-bfabef5bed32" xmlns:ns3="cccaf3ac-2de9-44d4-aa31-54302fceb5f7" xmlns:ns4="5d66da30-c57e-467e-bd92-94ce3dcc2d9c" targetNamespace="http://schemas.microsoft.com/office/2006/metadata/properties" ma:root="true" ma:fieldsID="96a69e71d600c1e148d8985e5128b887" ns2:_="" ns3:_="" ns4:_="">
    <xsd:import namespace="f90e7bc6-a3db-487f-b513-bfabef5bed32"/>
    <xsd:import namespace="cccaf3ac-2de9-44d4-aa31-54302fceb5f7"/>
    <xsd:import namespace="5d66da30-c57e-467e-bd92-94ce3dcc2d9c"/>
    <xsd:element name="properties">
      <xsd:complexType>
        <xsd:sequence>
          <xsd:element name="documentManagement">
            <xsd:complexType>
              <xsd:all>
                <xsd:element ref="ns2:TaxKeywordTaxHTField" minOccurs="0"/>
                <xsd:element ref="ns3:TaxCatchAll" minOccurs="0"/>
                <xsd:element ref="ns4:MediaServiceMetadata" minOccurs="0"/>
                <xsd:element ref="ns4:MediaServiceFastMetadata" minOccurs="0"/>
                <xsd:element ref="ns4:template" minOccurs="0"/>
                <xsd:element ref="ns2:SharedWithUsers" minOccurs="0"/>
                <xsd:element ref="ns2:SharedWithDetails" minOccurs="0"/>
                <xsd:element ref="ns4: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0e7bc6-a3db-487f-b513-bfabef5bed32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9" nillable="true" ma:taxonomy="true" ma:internalName="TaxKeywordTaxHTField" ma:taxonomyFieldName="TaxKeyword" ma:displayName="Enterprise Keywords" ma:fieldId="{23f27201-bee3-471e-b2e7-b64fd8b7ca38}" ma:taxonomyMulti="true" ma:sspId="443b0bdb-28a8-4814-9fb9-624c17c095fc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caf3ac-2de9-44d4-aa31-54302fceb5f7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9149f758-a6f2-4b74-bc3e-e8922073796b}" ma:internalName="TaxCatchAll" ma:showField="CatchAllData" ma:web="f90e7bc6-a3db-487f-b513-bfabef5bed3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66da30-c57e-467e-bd92-94ce3dcc2d9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template" ma:index="13" nillable="true" ma:displayName="template" ma:format="Dropdown" ma:internalName="template">
      <xsd:simpleType>
        <xsd:restriction base="dms:Text">
          <xsd:maxLength value="255"/>
        </xsd:restriction>
      </xsd:simpleType>
    </xsd:element>
    <xsd:element name="Date" ma:index="16" nillable="true" ma:displayName="Date" ma:format="DateTime" ma:internalName="Dat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KeywordTaxHTField xmlns="f90e7bc6-a3db-487f-b513-bfabef5bed32">
      <Terms xmlns="http://schemas.microsoft.com/office/infopath/2007/PartnerControls"/>
    </TaxKeywordTaxHTField>
    <template xmlns="5d66da30-c57e-467e-bd92-94ce3dcc2d9c">Presentation</template>
    <TaxCatchAll xmlns="cccaf3ac-2de9-44d4-aa31-54302fceb5f7"/>
    <SharedWithUsers xmlns="f90e7bc6-a3db-487f-b513-bfabef5bed32">
      <UserInfo>
        <DisplayName>Nicola Pollard</DisplayName>
        <AccountId>2842</AccountId>
        <AccountType/>
      </UserInfo>
      <UserInfo>
        <DisplayName>Shahin Alam</DisplayName>
        <AccountId>4938</AccountId>
        <AccountType/>
      </UserInfo>
      <UserInfo>
        <DisplayName>Lisa King</DisplayName>
        <AccountId>48</AccountId>
        <AccountType/>
      </UserInfo>
      <UserInfo>
        <DisplayName>Sade Cross</DisplayName>
        <AccountId>6199</AccountId>
        <AccountType/>
      </UserInfo>
      <UserInfo>
        <DisplayName>Roger Durack</DisplayName>
        <AccountId>2106</AccountId>
        <AccountType/>
      </UserInfo>
      <UserInfo>
        <DisplayName>Sarah Cooper</DisplayName>
        <AccountId>1135</AccountId>
        <AccountType/>
      </UserInfo>
    </SharedWithUsers>
    <Date xmlns="5d66da30-c57e-467e-bd92-94ce3dcc2d9c" xsi:nil="true"/>
  </documentManagement>
</p:properties>
</file>

<file path=customXml/itemProps1.xml><?xml version="1.0" encoding="utf-8"?>
<ds:datastoreItem xmlns:ds="http://schemas.openxmlformats.org/officeDocument/2006/customXml" ds:itemID="{A6333066-D95F-4DC9-8F45-8431A5C3C76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F5F6AE1-20AA-4C25-A564-3A6BB298196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90e7bc6-a3db-487f-b513-bfabef5bed32"/>
    <ds:schemaRef ds:uri="cccaf3ac-2de9-44d4-aa31-54302fceb5f7"/>
    <ds:schemaRef ds:uri="5d66da30-c57e-467e-bd92-94ce3dcc2d9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4D9FD49-C1C5-400A-B04D-90A236984D1F}">
  <ds:schemaRefs>
    <ds:schemaRef ds:uri="cccaf3ac-2de9-44d4-aa31-54302fceb5f7"/>
    <ds:schemaRef ds:uri="http://purl.org/dc/elements/1.1/"/>
    <ds:schemaRef ds:uri="http://schemas.microsoft.com/office/2006/metadata/properties"/>
    <ds:schemaRef ds:uri="http://purl.org/dc/terms/"/>
    <ds:schemaRef ds:uri="f90e7bc6-a3db-487f-b513-bfabef5bed32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5d66da30-c57e-467e-bd92-94ce3dcc2d9c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587</TotalTime>
  <Words>1688</Words>
  <Application>Microsoft Office PowerPoint</Application>
  <PresentationFormat>On-screen Show (4:3)</PresentationFormat>
  <Paragraphs>166</Paragraphs>
  <Slides>1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3" baseType="lpstr">
      <vt:lpstr>Arial</vt:lpstr>
      <vt:lpstr>Calibri</vt:lpstr>
      <vt:lpstr>Courier New</vt:lpstr>
      <vt:lpstr>Trebuchet MS</vt:lpstr>
      <vt:lpstr>1_NHS_England_Nov15</vt:lpstr>
      <vt:lpstr>2_NHS_England_Nov15</vt:lpstr>
      <vt:lpstr>6_Office Theme</vt:lpstr>
      <vt:lpstr>think-cell Slide</vt:lpstr>
      <vt:lpstr>The Framework for Integrated Care (SECURE STAIRS) </vt:lpstr>
      <vt:lpstr>The Framework for Integrated Care (SECURE STAIRS)</vt:lpstr>
      <vt:lpstr>PowerPoint Presentation</vt:lpstr>
      <vt:lpstr> </vt:lpstr>
      <vt:lpstr>SECURE STAIRS Key Principles</vt:lpstr>
      <vt:lpstr>What is Formulation?</vt:lpstr>
      <vt:lpstr>Whole system approach to formulation based care planning</vt:lpstr>
      <vt:lpstr>What will the Framework for Integrated Care look like?</vt:lpstr>
      <vt:lpstr>What will the Framework for Integrated Care look like?</vt:lpstr>
      <vt:lpstr>Training</vt:lpstr>
      <vt:lpstr>Expected Outcomes and Benefits</vt:lpstr>
      <vt:lpstr>PowerPoint Presentation</vt:lpstr>
      <vt:lpstr>PowerPoint Presentation</vt:lpstr>
      <vt:lpstr>PowerPoint Presentation</vt:lpstr>
      <vt:lpstr>The voice of staff and children and young people from the AFNCCF Independent Evaluation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raig Sanderson</dc:creator>
  <cp:lastModifiedBy>SEARLE, Alexandra (NHS SOUTH, CENTRAL AND WEST COMMISSIONING SUPPORT UNIT)</cp:lastModifiedBy>
  <cp:revision>378</cp:revision>
  <cp:lastPrinted>2019-06-11T12:39:43Z</cp:lastPrinted>
  <dcterms:created xsi:type="dcterms:W3CDTF">2017-05-03T08:06:17Z</dcterms:created>
  <dcterms:modified xsi:type="dcterms:W3CDTF">2021-02-26T14:22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4A07F297CB714AA444711BE03C57E6</vt:lpwstr>
  </property>
  <property fmtid="{D5CDD505-2E9C-101B-9397-08002B2CF9AE}" pid="3" name="TaxKeyword">
    <vt:lpwstr/>
  </property>
  <property fmtid="{D5CDD505-2E9C-101B-9397-08002B2CF9AE}" pid="4" name="Subject0">
    <vt:lpwstr/>
  </property>
  <property fmtid="{D5CDD505-2E9C-101B-9397-08002B2CF9AE}" pid="5" name="Document type0">
    <vt:lpwstr/>
  </property>
  <property fmtid="{D5CDD505-2E9C-101B-9397-08002B2CF9AE}" pid="6" name="WTTeamSiteDocumentType">
    <vt:lpwstr/>
  </property>
  <property fmtid="{D5CDD505-2E9C-101B-9397-08002B2CF9AE}" pid="7" name="WTTeamSiteDocumentTypeTaxHTField0">
    <vt:lpwstr/>
  </property>
  <property fmtid="{D5CDD505-2E9C-101B-9397-08002B2CF9AE}" pid="8" name="cebceaf3e3574cdab9f9dab6bbd34ddb">
    <vt:lpwstr/>
  </property>
  <property fmtid="{D5CDD505-2E9C-101B-9397-08002B2CF9AE}" pid="9" name="n2fe4ed80ae84f2cbc880662fe0a8735">
    <vt:lpwstr/>
  </property>
  <property fmtid="{D5CDD505-2E9C-101B-9397-08002B2CF9AE}" pid="10" name="TaxCatchAll">
    <vt:lpwstr/>
  </property>
  <property fmtid="{D5CDD505-2E9C-101B-9397-08002B2CF9AE}" pid="11" name="TaxKeywordTaxHTField">
    <vt:lpwstr/>
  </property>
</Properties>
</file>